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media/image19.jpg" ContentType="image/png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52" r:id="rId4"/>
  </p:sldMasterIdLst>
  <p:notesMasterIdLst>
    <p:notesMasterId r:id="rId33"/>
  </p:notesMasterIdLst>
  <p:sldIdLst>
    <p:sldId id="341" r:id="rId5"/>
    <p:sldId id="413" r:id="rId6"/>
    <p:sldId id="414" r:id="rId7"/>
    <p:sldId id="415" r:id="rId8"/>
    <p:sldId id="416" r:id="rId9"/>
    <p:sldId id="417" r:id="rId10"/>
    <p:sldId id="418" r:id="rId11"/>
    <p:sldId id="419" r:id="rId12"/>
    <p:sldId id="420" r:id="rId13"/>
    <p:sldId id="421" r:id="rId14"/>
    <p:sldId id="422" r:id="rId15"/>
    <p:sldId id="424" r:id="rId16"/>
    <p:sldId id="423" r:id="rId17"/>
    <p:sldId id="437" r:id="rId18"/>
    <p:sldId id="438" r:id="rId19"/>
    <p:sldId id="425" r:id="rId20"/>
    <p:sldId id="426" r:id="rId21"/>
    <p:sldId id="427" r:id="rId22"/>
    <p:sldId id="428" r:id="rId23"/>
    <p:sldId id="429" r:id="rId24"/>
    <p:sldId id="430" r:id="rId25"/>
    <p:sldId id="435" r:id="rId26"/>
    <p:sldId id="436" r:id="rId27"/>
    <p:sldId id="431" r:id="rId28"/>
    <p:sldId id="432" r:id="rId29"/>
    <p:sldId id="433" r:id="rId30"/>
    <p:sldId id="434" r:id="rId31"/>
    <p:sldId id="362" r:id="rId32"/>
  </p:sldIdLst>
  <p:sldSz cx="9144000" cy="5143500" type="screen16x9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09" userDrawn="1">
          <p15:clr>
            <a:srgbClr val="A4A3A4"/>
          </p15:clr>
        </p15:guide>
        <p15:guide id="2" orient="horz" pos="849" userDrawn="1">
          <p15:clr>
            <a:srgbClr val="A4A3A4"/>
          </p15:clr>
        </p15:guide>
        <p15:guide id="3" pos="5739" userDrawn="1">
          <p15:clr>
            <a:srgbClr val="A4A3A4"/>
          </p15:clr>
        </p15:guide>
        <p15:guide id="4" pos="5511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6" pos="24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33"/>
    <a:srgbClr val="C0C0C0"/>
    <a:srgbClr val="2D2D2D"/>
    <a:srgbClr val="FF9900"/>
    <a:srgbClr val="FED7BB"/>
    <a:srgbClr val="FFFF66"/>
    <a:srgbClr val="99CC00"/>
    <a:srgbClr val="A9D08E"/>
    <a:srgbClr val="5F5F5F"/>
    <a:srgbClr val="7474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F62A05-FF39-44A4-B992-C4F7C5E500B4}" v="466" dt="2019-07-17T04:49:50.5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34" autoAdjust="0"/>
    <p:restoredTop sz="94660"/>
  </p:normalViewPr>
  <p:slideViewPr>
    <p:cSldViewPr snapToObjects="1" showGuides="1">
      <p:cViewPr varScale="1">
        <p:scale>
          <a:sx n="151" d="100"/>
          <a:sy n="151" d="100"/>
        </p:scale>
        <p:origin x="528" y="138"/>
      </p:cViewPr>
      <p:guideLst>
        <p:guide orient="horz" pos="2709"/>
        <p:guide orient="horz" pos="849"/>
        <p:guide pos="5739"/>
        <p:guide pos="5511"/>
        <p:guide pos="2880"/>
        <p:guide pos="24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da-Meza, Raymundo" userId="e61339d0-ccd0-49ca-ad77-7a534db8c573" providerId="ADAL" clId="{2CF62A05-FF39-44A4-B992-C4F7C5E500B4}"/>
    <pc:docChg chg="undo custSel addSld modSld">
      <pc:chgData name="Inda-Meza, Raymundo" userId="e61339d0-ccd0-49ca-ad77-7a534db8c573" providerId="ADAL" clId="{2CF62A05-FF39-44A4-B992-C4F7C5E500B4}" dt="2019-07-17T04:49:50.558" v="465" actId="1440"/>
      <pc:docMkLst>
        <pc:docMk/>
      </pc:docMkLst>
      <pc:sldChg chg="addSp delSp modSp add">
        <pc:chgData name="Inda-Meza, Raymundo" userId="e61339d0-ccd0-49ca-ad77-7a534db8c573" providerId="ADAL" clId="{2CF62A05-FF39-44A4-B992-C4F7C5E500B4}" dt="2019-07-17T04:08:40.444" v="227" actId="1076"/>
        <pc:sldMkLst>
          <pc:docMk/>
          <pc:sldMk cId="985649604" sldId="414"/>
        </pc:sldMkLst>
        <pc:spChg chg="mod">
          <ac:chgData name="Inda-Meza, Raymundo" userId="e61339d0-ccd0-49ca-ad77-7a534db8c573" providerId="ADAL" clId="{2CF62A05-FF39-44A4-B992-C4F7C5E500B4}" dt="2019-07-17T03:50:53.135" v="40" actId="14100"/>
          <ac:spMkLst>
            <pc:docMk/>
            <pc:sldMk cId="985649604" sldId="414"/>
            <ac:spMk id="6" creationId="{00000000-0000-0000-0000-000000000000}"/>
          </ac:spMkLst>
        </pc:spChg>
        <pc:spChg chg="mod">
          <ac:chgData name="Inda-Meza, Raymundo" userId="e61339d0-ccd0-49ca-ad77-7a534db8c573" providerId="ADAL" clId="{2CF62A05-FF39-44A4-B992-C4F7C5E500B4}" dt="2019-07-17T04:08:21.985" v="225" actId="1076"/>
          <ac:spMkLst>
            <pc:docMk/>
            <pc:sldMk cId="985649604" sldId="414"/>
            <ac:spMk id="10" creationId="{7493F200-176D-4D26-A11C-DA19C6327032}"/>
          </ac:spMkLst>
        </pc:spChg>
        <pc:spChg chg="del">
          <ac:chgData name="Inda-Meza, Raymundo" userId="e61339d0-ccd0-49ca-ad77-7a534db8c573" providerId="ADAL" clId="{2CF62A05-FF39-44A4-B992-C4F7C5E500B4}" dt="2019-07-17T03:51:05.393" v="44" actId="478"/>
          <ac:spMkLst>
            <pc:docMk/>
            <pc:sldMk cId="985649604" sldId="414"/>
            <ac:spMk id="11" creationId="{E3706D84-BF23-429D-A16A-E654569FF183}"/>
          </ac:spMkLst>
        </pc:spChg>
        <pc:picChg chg="add mod">
          <ac:chgData name="Inda-Meza, Raymundo" userId="e61339d0-ccd0-49ca-ad77-7a534db8c573" providerId="ADAL" clId="{2CF62A05-FF39-44A4-B992-C4F7C5E500B4}" dt="2019-07-17T04:08:13.475" v="224" actId="14100"/>
          <ac:picMkLst>
            <pc:docMk/>
            <pc:sldMk cId="985649604" sldId="414"/>
            <ac:picMk id="2" creationId="{4F1EAFF8-233E-482D-BAC7-68F0C71B3F24}"/>
          </ac:picMkLst>
        </pc:picChg>
        <pc:picChg chg="add mod">
          <ac:chgData name="Inda-Meza, Raymundo" userId="e61339d0-ccd0-49ca-ad77-7a534db8c573" providerId="ADAL" clId="{2CF62A05-FF39-44A4-B992-C4F7C5E500B4}" dt="2019-07-17T04:08:40.444" v="227" actId="1076"/>
          <ac:picMkLst>
            <pc:docMk/>
            <pc:sldMk cId="985649604" sldId="414"/>
            <ac:picMk id="3" creationId="{4E75A3BF-09DF-426E-AB8D-569E9A25BB0E}"/>
          </ac:picMkLst>
        </pc:picChg>
        <pc:picChg chg="del">
          <ac:chgData name="Inda-Meza, Raymundo" userId="e61339d0-ccd0-49ca-ad77-7a534db8c573" providerId="ADAL" clId="{2CF62A05-FF39-44A4-B992-C4F7C5E500B4}" dt="2019-07-17T03:51:07.270" v="45" actId="478"/>
          <ac:picMkLst>
            <pc:docMk/>
            <pc:sldMk cId="985649604" sldId="414"/>
            <ac:picMk id="12" creationId="{6B1B0F74-22F4-4D9B-A301-7A58B472620E}"/>
          </ac:picMkLst>
        </pc:picChg>
      </pc:sldChg>
      <pc:sldChg chg="addSp delSp modSp add">
        <pc:chgData name="Inda-Meza, Raymundo" userId="e61339d0-ccd0-49ca-ad77-7a534db8c573" providerId="ADAL" clId="{2CF62A05-FF39-44A4-B992-C4F7C5E500B4}" dt="2019-07-17T04:15:08.181" v="345" actId="20577"/>
        <pc:sldMkLst>
          <pc:docMk/>
          <pc:sldMk cId="2955124226" sldId="415"/>
        </pc:sldMkLst>
        <pc:spChg chg="add mod">
          <ac:chgData name="Inda-Meza, Raymundo" userId="e61339d0-ccd0-49ca-ad77-7a534db8c573" providerId="ADAL" clId="{2CF62A05-FF39-44A4-B992-C4F7C5E500B4}" dt="2019-07-17T04:14:36.809" v="319" actId="1076"/>
          <ac:spMkLst>
            <pc:docMk/>
            <pc:sldMk cId="2955124226" sldId="415"/>
            <ac:spMk id="8" creationId="{1298E5CF-D7F0-4094-8CBB-58B47BA093E3}"/>
          </ac:spMkLst>
        </pc:spChg>
        <pc:spChg chg="mod">
          <ac:chgData name="Inda-Meza, Raymundo" userId="e61339d0-ccd0-49ca-ad77-7a534db8c573" providerId="ADAL" clId="{2CF62A05-FF39-44A4-B992-C4F7C5E500B4}" dt="2019-07-17T04:12:35.238" v="310" actId="14100"/>
          <ac:spMkLst>
            <pc:docMk/>
            <pc:sldMk cId="2955124226" sldId="415"/>
            <ac:spMk id="10" creationId="{7493F200-176D-4D26-A11C-DA19C6327032}"/>
          </ac:spMkLst>
        </pc:spChg>
        <pc:spChg chg="add mod">
          <ac:chgData name="Inda-Meza, Raymundo" userId="e61339d0-ccd0-49ca-ad77-7a534db8c573" providerId="ADAL" clId="{2CF62A05-FF39-44A4-B992-C4F7C5E500B4}" dt="2019-07-17T04:15:08.181" v="345" actId="20577"/>
          <ac:spMkLst>
            <pc:docMk/>
            <pc:sldMk cId="2955124226" sldId="415"/>
            <ac:spMk id="11" creationId="{0F68D25F-9EE7-46A9-B361-B59052C0C7EA}"/>
          </ac:spMkLst>
        </pc:spChg>
        <pc:picChg chg="del">
          <ac:chgData name="Inda-Meza, Raymundo" userId="e61339d0-ccd0-49ca-ad77-7a534db8c573" providerId="ADAL" clId="{2CF62A05-FF39-44A4-B992-C4F7C5E500B4}" dt="2019-07-17T04:09:40.536" v="229" actId="478"/>
          <ac:picMkLst>
            <pc:docMk/>
            <pc:sldMk cId="2955124226" sldId="415"/>
            <ac:picMk id="2" creationId="{4F1EAFF8-233E-482D-BAC7-68F0C71B3F24}"/>
          </ac:picMkLst>
        </pc:picChg>
        <pc:picChg chg="del">
          <ac:chgData name="Inda-Meza, Raymundo" userId="e61339d0-ccd0-49ca-ad77-7a534db8c573" providerId="ADAL" clId="{2CF62A05-FF39-44A4-B992-C4F7C5E500B4}" dt="2019-07-17T04:09:42.705" v="230" actId="478"/>
          <ac:picMkLst>
            <pc:docMk/>
            <pc:sldMk cId="2955124226" sldId="415"/>
            <ac:picMk id="3" creationId="{4E75A3BF-09DF-426E-AB8D-569E9A25BB0E}"/>
          </ac:picMkLst>
        </pc:picChg>
        <pc:picChg chg="add mod">
          <ac:chgData name="Inda-Meza, Raymundo" userId="e61339d0-ccd0-49ca-ad77-7a534db8c573" providerId="ADAL" clId="{2CF62A05-FF39-44A4-B992-C4F7C5E500B4}" dt="2019-07-17T04:12:14.026" v="305" actId="1076"/>
          <ac:picMkLst>
            <pc:docMk/>
            <pc:sldMk cId="2955124226" sldId="415"/>
            <ac:picMk id="5" creationId="{4BB765B8-2504-4087-9646-9F3F5C3D236B}"/>
          </ac:picMkLst>
        </pc:picChg>
        <pc:picChg chg="add mod">
          <ac:chgData name="Inda-Meza, Raymundo" userId="e61339d0-ccd0-49ca-ad77-7a534db8c573" providerId="ADAL" clId="{2CF62A05-FF39-44A4-B992-C4F7C5E500B4}" dt="2019-07-17T04:14:34.609" v="318" actId="1076"/>
          <ac:picMkLst>
            <pc:docMk/>
            <pc:sldMk cId="2955124226" sldId="415"/>
            <ac:picMk id="7" creationId="{2032C85D-F1B6-4396-BC2C-212BE0D83E13}"/>
          </ac:picMkLst>
        </pc:picChg>
      </pc:sldChg>
      <pc:sldChg chg="addSp delSp modSp add">
        <pc:chgData name="Inda-Meza, Raymundo" userId="e61339d0-ccd0-49ca-ad77-7a534db8c573" providerId="ADAL" clId="{2CF62A05-FF39-44A4-B992-C4F7C5E500B4}" dt="2019-07-17T04:28:57.696" v="409" actId="1076"/>
        <pc:sldMkLst>
          <pc:docMk/>
          <pc:sldMk cId="3340323409" sldId="416"/>
        </pc:sldMkLst>
        <pc:spChg chg="mod">
          <ac:chgData name="Inda-Meza, Raymundo" userId="e61339d0-ccd0-49ca-ad77-7a534db8c573" providerId="ADAL" clId="{2CF62A05-FF39-44A4-B992-C4F7C5E500B4}" dt="2019-07-17T04:16:12.705" v="386" actId="20577"/>
          <ac:spMkLst>
            <pc:docMk/>
            <pc:sldMk cId="3340323409" sldId="416"/>
            <ac:spMk id="6" creationId="{00000000-0000-0000-0000-000000000000}"/>
          </ac:spMkLst>
        </pc:spChg>
        <pc:spChg chg="del">
          <ac:chgData name="Inda-Meza, Raymundo" userId="e61339d0-ccd0-49ca-ad77-7a534db8c573" providerId="ADAL" clId="{2CF62A05-FF39-44A4-B992-C4F7C5E500B4}" dt="2019-07-17T04:16:22.329" v="389" actId="478"/>
          <ac:spMkLst>
            <pc:docMk/>
            <pc:sldMk cId="3340323409" sldId="416"/>
            <ac:spMk id="8" creationId="{1298E5CF-D7F0-4094-8CBB-58B47BA093E3}"/>
          </ac:spMkLst>
        </pc:spChg>
        <pc:spChg chg="del">
          <ac:chgData name="Inda-Meza, Raymundo" userId="e61339d0-ccd0-49ca-ad77-7a534db8c573" providerId="ADAL" clId="{2CF62A05-FF39-44A4-B992-C4F7C5E500B4}" dt="2019-07-17T04:16:18.330" v="388" actId="478"/>
          <ac:spMkLst>
            <pc:docMk/>
            <pc:sldMk cId="3340323409" sldId="416"/>
            <ac:spMk id="10" creationId="{7493F200-176D-4D26-A11C-DA19C6327032}"/>
          </ac:spMkLst>
        </pc:spChg>
        <pc:spChg chg="del">
          <ac:chgData name="Inda-Meza, Raymundo" userId="e61339d0-ccd0-49ca-ad77-7a534db8c573" providerId="ADAL" clId="{2CF62A05-FF39-44A4-B992-C4F7C5E500B4}" dt="2019-07-17T04:16:26.375" v="391" actId="478"/>
          <ac:spMkLst>
            <pc:docMk/>
            <pc:sldMk cId="3340323409" sldId="416"/>
            <ac:spMk id="11" creationId="{0F68D25F-9EE7-46A9-B361-B59052C0C7EA}"/>
          </ac:spMkLst>
        </pc:spChg>
        <pc:picChg chg="add mod">
          <ac:chgData name="Inda-Meza, Raymundo" userId="e61339d0-ccd0-49ca-ad77-7a534db8c573" providerId="ADAL" clId="{2CF62A05-FF39-44A4-B992-C4F7C5E500B4}" dt="2019-07-17T04:28:54.877" v="408" actId="1076"/>
          <ac:picMkLst>
            <pc:docMk/>
            <pc:sldMk cId="3340323409" sldId="416"/>
            <ac:picMk id="2" creationId="{0F57776D-CF16-4492-89A7-1A12B6CDC238}"/>
          </ac:picMkLst>
        </pc:picChg>
        <pc:picChg chg="add mod modCrop">
          <ac:chgData name="Inda-Meza, Raymundo" userId="e61339d0-ccd0-49ca-ad77-7a534db8c573" providerId="ADAL" clId="{2CF62A05-FF39-44A4-B992-C4F7C5E500B4}" dt="2019-07-17T04:28:57.696" v="409" actId="1076"/>
          <ac:picMkLst>
            <pc:docMk/>
            <pc:sldMk cId="3340323409" sldId="416"/>
            <ac:picMk id="3" creationId="{0A0C1F8F-11A0-496A-8D8E-0E40C8783279}"/>
          </ac:picMkLst>
        </pc:picChg>
        <pc:picChg chg="del">
          <ac:chgData name="Inda-Meza, Raymundo" userId="e61339d0-ccd0-49ca-ad77-7a534db8c573" providerId="ADAL" clId="{2CF62A05-FF39-44A4-B992-C4F7C5E500B4}" dt="2019-07-17T04:16:16.406" v="387" actId="478"/>
          <ac:picMkLst>
            <pc:docMk/>
            <pc:sldMk cId="3340323409" sldId="416"/>
            <ac:picMk id="5" creationId="{4BB765B8-2504-4087-9646-9F3F5C3D236B}"/>
          </ac:picMkLst>
        </pc:picChg>
        <pc:picChg chg="del">
          <ac:chgData name="Inda-Meza, Raymundo" userId="e61339d0-ccd0-49ca-ad77-7a534db8c573" providerId="ADAL" clId="{2CF62A05-FF39-44A4-B992-C4F7C5E500B4}" dt="2019-07-17T04:16:24.181" v="390" actId="478"/>
          <ac:picMkLst>
            <pc:docMk/>
            <pc:sldMk cId="3340323409" sldId="416"/>
            <ac:picMk id="7" creationId="{2032C85D-F1B6-4396-BC2C-212BE0D83E13}"/>
          </ac:picMkLst>
        </pc:picChg>
      </pc:sldChg>
      <pc:sldChg chg="addSp delSp modSp add">
        <pc:chgData name="Inda-Meza, Raymundo" userId="e61339d0-ccd0-49ca-ad77-7a534db8c573" providerId="ADAL" clId="{2CF62A05-FF39-44A4-B992-C4F7C5E500B4}" dt="2019-07-17T04:49:50.558" v="465" actId="1440"/>
        <pc:sldMkLst>
          <pc:docMk/>
          <pc:sldMk cId="3058741418" sldId="417"/>
        </pc:sldMkLst>
        <pc:spChg chg="mod">
          <ac:chgData name="Inda-Meza, Raymundo" userId="e61339d0-ccd0-49ca-ad77-7a534db8c573" providerId="ADAL" clId="{2CF62A05-FF39-44A4-B992-C4F7C5E500B4}" dt="2019-07-17T04:45:00.315" v="445" actId="20577"/>
          <ac:spMkLst>
            <pc:docMk/>
            <pc:sldMk cId="3058741418" sldId="417"/>
            <ac:spMk id="6" creationId="{00000000-0000-0000-0000-000000000000}"/>
          </ac:spMkLst>
        </pc:spChg>
        <pc:spChg chg="add mod">
          <ac:chgData name="Inda-Meza, Raymundo" userId="e61339d0-ccd0-49ca-ad77-7a534db8c573" providerId="ADAL" clId="{2CF62A05-FF39-44A4-B992-C4F7C5E500B4}" dt="2019-07-17T04:49:47.557" v="464" actId="1076"/>
          <ac:spMkLst>
            <pc:docMk/>
            <pc:sldMk cId="3058741418" sldId="417"/>
            <ac:spMk id="7" creationId="{FEA4CDE6-4425-4749-8F16-BC1C97593B41}"/>
          </ac:spMkLst>
        </pc:spChg>
        <pc:picChg chg="del">
          <ac:chgData name="Inda-Meza, Raymundo" userId="e61339d0-ccd0-49ca-ad77-7a534db8c573" providerId="ADAL" clId="{2CF62A05-FF39-44A4-B992-C4F7C5E500B4}" dt="2019-07-17T04:45:04.940" v="446" actId="478"/>
          <ac:picMkLst>
            <pc:docMk/>
            <pc:sldMk cId="3058741418" sldId="417"/>
            <ac:picMk id="2" creationId="{0F57776D-CF16-4492-89A7-1A12B6CDC238}"/>
          </ac:picMkLst>
        </pc:picChg>
        <pc:picChg chg="del">
          <ac:chgData name="Inda-Meza, Raymundo" userId="e61339d0-ccd0-49ca-ad77-7a534db8c573" providerId="ADAL" clId="{2CF62A05-FF39-44A4-B992-C4F7C5E500B4}" dt="2019-07-17T04:45:06.524" v="447" actId="478"/>
          <ac:picMkLst>
            <pc:docMk/>
            <pc:sldMk cId="3058741418" sldId="417"/>
            <ac:picMk id="3" creationId="{0A0C1F8F-11A0-496A-8D8E-0E40C8783279}"/>
          </ac:picMkLst>
        </pc:picChg>
        <pc:picChg chg="add mod">
          <ac:chgData name="Inda-Meza, Raymundo" userId="e61339d0-ccd0-49ca-ad77-7a534db8c573" providerId="ADAL" clId="{2CF62A05-FF39-44A4-B992-C4F7C5E500B4}" dt="2019-07-17T04:49:50.558" v="465" actId="1440"/>
          <ac:picMkLst>
            <pc:docMk/>
            <pc:sldMk cId="3058741418" sldId="417"/>
            <ac:picMk id="5" creationId="{1B192D82-CB3E-47E3-AECA-22BB53DB48F7}"/>
          </ac:picMkLst>
        </pc:picChg>
      </pc:sldChg>
    </pc:docChg>
  </pc:docChgLst>
  <pc:docChgLst>
    <pc:chgData name="Inda-Meza, Raymundo" userId="e61339d0-ccd0-49ca-ad77-7a534db8c573" providerId="ADAL" clId="{4E211F11-C5C5-482B-BB28-EABB7586A602}"/>
    <pc:docChg chg="undo custSel addSld delSld modSld sldOrd">
      <pc:chgData name="Inda-Meza, Raymundo" userId="e61339d0-ccd0-49ca-ad77-7a534db8c573" providerId="ADAL" clId="{4E211F11-C5C5-482B-BB28-EABB7586A602}" dt="2019-06-18T18:37:09.845" v="3549" actId="1076"/>
      <pc:docMkLst>
        <pc:docMk/>
      </pc:docMkLst>
      <pc:sldChg chg="addSp delSp modSp add del">
        <pc:chgData name="Inda-Meza, Raymundo" userId="e61339d0-ccd0-49ca-ad77-7a534db8c573" providerId="ADAL" clId="{4E211F11-C5C5-482B-BB28-EABB7586A602}" dt="2019-06-18T18:32:40.410" v="3540" actId="14100"/>
        <pc:sldMkLst>
          <pc:docMk/>
          <pc:sldMk cId="0" sldId="341"/>
        </pc:sldMkLst>
        <pc:spChg chg="add del mod">
          <ac:chgData name="Inda-Meza, Raymundo" userId="e61339d0-ccd0-49ca-ad77-7a534db8c573" providerId="ADAL" clId="{4E211F11-C5C5-482B-BB28-EABB7586A602}" dt="2019-06-18T17:07:59.219" v="1769" actId="478"/>
          <ac:spMkLst>
            <pc:docMk/>
            <pc:sldMk cId="0" sldId="341"/>
            <ac:spMk id="3" creationId="{ED5596DF-F82C-47B4-875E-73A95F15692D}"/>
          </ac:spMkLst>
        </pc:spChg>
        <pc:spChg chg="add del mod">
          <ac:chgData name="Inda-Meza, Raymundo" userId="e61339d0-ccd0-49ca-ad77-7a534db8c573" providerId="ADAL" clId="{4E211F11-C5C5-482B-BB28-EABB7586A602}" dt="2019-06-18T17:21:56.199" v="2217" actId="478"/>
          <ac:spMkLst>
            <pc:docMk/>
            <pc:sldMk cId="0" sldId="341"/>
            <ac:spMk id="5" creationId="{6C262463-7DAE-4185-91FA-97FF90A2843F}"/>
          </ac:spMkLst>
        </pc:spChg>
        <pc:spChg chg="add del mod">
          <ac:chgData name="Inda-Meza, Raymundo" userId="e61339d0-ccd0-49ca-ad77-7a534db8c573" providerId="ADAL" clId="{4E211F11-C5C5-482B-BB28-EABB7586A602}" dt="2019-06-18T17:22:03.670" v="2220" actId="478"/>
          <ac:spMkLst>
            <pc:docMk/>
            <pc:sldMk cId="0" sldId="341"/>
            <ac:spMk id="7" creationId="{7BA55B69-4940-4D40-AB2A-0F5F790E0B33}"/>
          </ac:spMkLst>
        </pc:spChg>
        <pc:spChg chg="del">
          <ac:chgData name="Inda-Meza, Raymundo" userId="e61339d0-ccd0-49ca-ad77-7a534db8c573" providerId="ADAL" clId="{4E211F11-C5C5-482B-BB28-EABB7586A602}" dt="2019-06-18T17:22:01.383" v="2219" actId="478"/>
          <ac:spMkLst>
            <pc:docMk/>
            <pc:sldMk cId="0" sldId="341"/>
            <ac:spMk id="9" creationId="{00000000-0000-0000-0000-000000000000}"/>
          </ac:spMkLst>
        </pc:spChg>
        <pc:spChg chg="del">
          <ac:chgData name="Inda-Meza, Raymundo" userId="e61339d0-ccd0-49ca-ad77-7a534db8c573" providerId="ADAL" clId="{4E211F11-C5C5-482B-BB28-EABB7586A602}" dt="2019-06-18T17:07:58.363" v="1768" actId="478"/>
          <ac:spMkLst>
            <pc:docMk/>
            <pc:sldMk cId="0" sldId="341"/>
            <ac:spMk id="10" creationId="{00000000-0000-0000-0000-000000000000}"/>
          </ac:spMkLst>
        </pc:spChg>
        <pc:spChg chg="mod">
          <ac:chgData name="Inda-Meza, Raymundo" userId="e61339d0-ccd0-49ca-ad77-7a534db8c573" providerId="ADAL" clId="{4E211F11-C5C5-482B-BB28-EABB7586A602}" dt="2019-06-18T18:32:40.410" v="3540" actId="14100"/>
          <ac:spMkLst>
            <pc:docMk/>
            <pc:sldMk cId="0" sldId="341"/>
            <ac:spMk id="18" creationId="{00000000-0000-0000-0000-000000000000}"/>
          </ac:spMkLst>
        </pc:spChg>
        <pc:spChg chg="del mod">
          <ac:chgData name="Inda-Meza, Raymundo" userId="e61339d0-ccd0-49ca-ad77-7a534db8c573" providerId="ADAL" clId="{4E211F11-C5C5-482B-BB28-EABB7586A602}" dt="2019-06-18T17:21:53.860" v="2216"/>
          <ac:spMkLst>
            <pc:docMk/>
            <pc:sldMk cId="0" sldId="341"/>
            <ac:spMk id="19" creationId="{00000000-0000-0000-0000-000000000000}"/>
          </ac:spMkLst>
        </pc:spChg>
        <pc:picChg chg="add mod ord">
          <ac:chgData name="Inda-Meza, Raymundo" userId="e61339d0-ccd0-49ca-ad77-7a534db8c573" providerId="ADAL" clId="{4E211F11-C5C5-482B-BB28-EABB7586A602}" dt="2019-06-18T18:30:59.887" v="3512" actId="1076"/>
          <ac:picMkLst>
            <pc:docMk/>
            <pc:sldMk cId="0" sldId="341"/>
            <ac:picMk id="4" creationId="{0B47D371-DFD1-45ED-B3F8-0F3B80EDD9DE}"/>
          </ac:picMkLst>
        </pc:picChg>
      </pc:sldChg>
      <pc:sldChg chg="addSp delSp modSp ord">
        <pc:chgData name="Inda-Meza, Raymundo" userId="e61339d0-ccd0-49ca-ad77-7a534db8c573" providerId="ADAL" clId="{4E211F11-C5C5-482B-BB28-EABB7586A602}" dt="2019-06-18T18:29:50.254" v="3503" actId="478"/>
        <pc:sldMkLst>
          <pc:docMk/>
          <pc:sldMk cId="3462180873" sldId="362"/>
        </pc:sldMkLst>
        <pc:spChg chg="del">
          <ac:chgData name="Inda-Meza, Raymundo" userId="e61339d0-ccd0-49ca-ad77-7a534db8c573" providerId="ADAL" clId="{4E211F11-C5C5-482B-BB28-EABB7586A602}" dt="2019-06-18T18:29:50.254" v="3503" actId="478"/>
          <ac:spMkLst>
            <pc:docMk/>
            <pc:sldMk cId="3462180873" sldId="362"/>
            <ac:spMk id="2" creationId="{00000000-0000-0000-0000-000000000000}"/>
          </ac:spMkLst>
        </pc:spChg>
        <pc:spChg chg="del">
          <ac:chgData name="Inda-Meza, Raymundo" userId="e61339d0-ccd0-49ca-ad77-7a534db8c573" providerId="ADAL" clId="{4E211F11-C5C5-482B-BB28-EABB7586A602}" dt="2019-06-18T18:29:48.231" v="3502" actId="478"/>
          <ac:spMkLst>
            <pc:docMk/>
            <pc:sldMk cId="3462180873" sldId="362"/>
            <ac:spMk id="4" creationId="{00000000-0000-0000-0000-000000000000}"/>
          </ac:spMkLst>
        </pc:spChg>
        <pc:spChg chg="add mod">
          <ac:chgData name="Inda-Meza, Raymundo" userId="e61339d0-ccd0-49ca-ad77-7a534db8c573" providerId="ADAL" clId="{4E211F11-C5C5-482B-BB28-EABB7586A602}" dt="2019-06-18T18:26:01.858" v="3410" actId="571"/>
          <ac:spMkLst>
            <pc:docMk/>
            <pc:sldMk cId="3462180873" sldId="362"/>
            <ac:spMk id="8" creationId="{C554CDA6-9DE5-4F12-BCFD-C1D4D814B7B4}"/>
          </ac:spMkLst>
        </pc:spChg>
        <pc:spChg chg="mod">
          <ac:chgData name="Inda-Meza, Raymundo" userId="e61339d0-ccd0-49ca-ad77-7a534db8c573" providerId="ADAL" clId="{4E211F11-C5C5-482B-BB28-EABB7586A602}" dt="2019-06-18T18:28:24.647" v="3498" actId="20577"/>
          <ac:spMkLst>
            <pc:docMk/>
            <pc:sldMk cId="3462180873" sldId="362"/>
            <ac:spMk id="12" creationId="{00000000-0000-0000-0000-000000000000}"/>
          </ac:spMkLst>
        </pc:spChg>
        <pc:picChg chg="mod">
          <ac:chgData name="Inda-Meza, Raymundo" userId="e61339d0-ccd0-49ca-ad77-7a534db8c573" providerId="ADAL" clId="{4E211F11-C5C5-482B-BB28-EABB7586A602}" dt="2019-06-18T18:29:06.290" v="3501" actId="1076"/>
          <ac:picMkLst>
            <pc:docMk/>
            <pc:sldMk cId="3462180873" sldId="362"/>
            <ac:picMk id="9" creationId="{1D99BC85-993D-407D-B1EA-DEAA42804011}"/>
          </ac:picMkLst>
        </pc:picChg>
      </pc:sldChg>
      <pc:sldChg chg="addSp delSp modSp add ord">
        <pc:chgData name="Inda-Meza, Raymundo" userId="e61339d0-ccd0-49ca-ad77-7a534db8c573" providerId="ADAL" clId="{4E211F11-C5C5-482B-BB28-EABB7586A602}" dt="2019-06-18T18:37:09.845" v="3549" actId="1076"/>
        <pc:sldMkLst>
          <pc:docMk/>
          <pc:sldMk cId="4090332590" sldId="413"/>
        </pc:sldMkLst>
        <pc:spChg chg="del">
          <ac:chgData name="Inda-Meza, Raymundo" userId="e61339d0-ccd0-49ca-ad77-7a534db8c573" providerId="ADAL" clId="{4E211F11-C5C5-482B-BB28-EABB7586A602}" dt="2019-06-18T17:54:25.124" v="2490" actId="478"/>
          <ac:spMkLst>
            <pc:docMk/>
            <pc:sldMk cId="4090332590" sldId="413"/>
            <ac:spMk id="2" creationId="{00000000-0000-0000-0000-000000000000}"/>
          </ac:spMkLst>
        </pc:spChg>
        <pc:spChg chg="del">
          <ac:chgData name="Inda-Meza, Raymundo" userId="e61339d0-ccd0-49ca-ad77-7a534db8c573" providerId="ADAL" clId="{4E211F11-C5C5-482B-BB28-EABB7586A602}" dt="2019-06-18T18:29:59.966" v="3505" actId="478"/>
          <ac:spMkLst>
            <pc:docMk/>
            <pc:sldMk cId="4090332590" sldId="413"/>
            <ac:spMk id="3" creationId="{00000000-0000-0000-0000-000000000000}"/>
          </ac:spMkLst>
        </pc:spChg>
        <pc:spChg chg="del">
          <ac:chgData name="Inda-Meza, Raymundo" userId="e61339d0-ccd0-49ca-ad77-7a534db8c573" providerId="ADAL" clId="{4E211F11-C5C5-482B-BB28-EABB7586A602}" dt="2019-06-18T18:29:59.018" v="3504" actId="478"/>
          <ac:spMkLst>
            <pc:docMk/>
            <pc:sldMk cId="4090332590" sldId="413"/>
            <ac:spMk id="5" creationId="{00000000-0000-0000-0000-000000000000}"/>
          </ac:spMkLst>
        </pc:spChg>
        <pc:spChg chg="del mod">
          <ac:chgData name="Inda-Meza, Raymundo" userId="e61339d0-ccd0-49ca-ad77-7a534db8c573" providerId="ADAL" clId="{4E211F11-C5C5-482B-BB28-EABB7586A602}" dt="2019-06-18T18:09:46.475" v="3067" actId="478"/>
          <ac:spMkLst>
            <pc:docMk/>
            <pc:sldMk cId="4090332590" sldId="413"/>
            <ac:spMk id="7" creationId="{40F05A50-6815-43DC-8300-A818E010C215}"/>
          </ac:spMkLst>
        </pc:spChg>
        <pc:spChg chg="add del mod">
          <ac:chgData name="Inda-Meza, Raymundo" userId="e61339d0-ccd0-49ca-ad77-7a534db8c573" providerId="ADAL" clId="{4E211F11-C5C5-482B-BB28-EABB7586A602}" dt="2019-06-18T17:54:26.501" v="2491" actId="478"/>
          <ac:spMkLst>
            <pc:docMk/>
            <pc:sldMk cId="4090332590" sldId="413"/>
            <ac:spMk id="9" creationId="{64B48EBA-0DB2-4638-90A8-AAC59DC45D87}"/>
          </ac:spMkLst>
        </pc:spChg>
        <pc:spChg chg="add mod">
          <ac:chgData name="Inda-Meza, Raymundo" userId="e61339d0-ccd0-49ca-ad77-7a534db8c573" providerId="ADAL" clId="{4E211F11-C5C5-482B-BB28-EABB7586A602}" dt="2019-06-18T18:24:37.126" v="3404" actId="11"/>
          <ac:spMkLst>
            <pc:docMk/>
            <pc:sldMk cId="4090332590" sldId="413"/>
            <ac:spMk id="10" creationId="{7493F200-176D-4D26-A11C-DA19C6327032}"/>
          </ac:spMkLst>
        </pc:spChg>
        <pc:spChg chg="add mod">
          <ac:chgData name="Inda-Meza, Raymundo" userId="e61339d0-ccd0-49ca-ad77-7a534db8c573" providerId="ADAL" clId="{4E211F11-C5C5-482B-BB28-EABB7586A602}" dt="2019-06-18T18:37:09.845" v="3549" actId="1076"/>
          <ac:spMkLst>
            <pc:docMk/>
            <pc:sldMk cId="4090332590" sldId="413"/>
            <ac:spMk id="11" creationId="{E3706D84-BF23-429D-A16A-E654569FF183}"/>
          </ac:spMkLst>
        </pc:spChg>
        <pc:picChg chg="add mod">
          <ac:chgData name="Inda-Meza, Raymundo" userId="e61339d0-ccd0-49ca-ad77-7a534db8c573" providerId="ADAL" clId="{4E211F11-C5C5-482B-BB28-EABB7586A602}" dt="2019-06-18T18:36:14.938" v="3544" actId="1076"/>
          <ac:picMkLst>
            <pc:docMk/>
            <pc:sldMk cId="4090332590" sldId="413"/>
            <ac:picMk id="12" creationId="{6B1B0F74-22F4-4D9B-A301-7A58B472620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137" cy="512304"/>
          </a:xfrm>
          <a:prstGeom prst="rect">
            <a:avLst/>
          </a:prstGeom>
        </p:spPr>
        <p:txBody>
          <a:bodyPr vert="horz" lIns="94764" tIns="47382" rIns="94764" bIns="4738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0506" y="0"/>
            <a:ext cx="3077137" cy="512304"/>
          </a:xfrm>
          <a:prstGeom prst="rect">
            <a:avLst/>
          </a:prstGeom>
        </p:spPr>
        <p:txBody>
          <a:bodyPr vert="horz" lIns="94764" tIns="47382" rIns="94764" bIns="47382" rtlCol="0"/>
          <a:lstStyle>
            <a:lvl1pPr algn="r">
              <a:defRPr sz="1200"/>
            </a:lvl1pPr>
          </a:lstStyle>
          <a:p>
            <a:fld id="{6917FBFF-3BE7-4A34-82EA-75FC3E1B7F47}" type="datetimeFigureOut">
              <a:rPr lang="de-DE" smtClean="0"/>
              <a:pPr/>
              <a:t>17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4" tIns="47382" rIns="94764" bIns="47382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599" y="4861155"/>
            <a:ext cx="5680104" cy="4605821"/>
          </a:xfrm>
          <a:prstGeom prst="rect">
            <a:avLst/>
          </a:prstGeom>
        </p:spPr>
        <p:txBody>
          <a:bodyPr vert="horz" lIns="94764" tIns="47382" rIns="94764" bIns="47382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0674"/>
            <a:ext cx="3077137" cy="512303"/>
          </a:xfrm>
          <a:prstGeom prst="rect">
            <a:avLst/>
          </a:prstGeom>
        </p:spPr>
        <p:txBody>
          <a:bodyPr vert="horz" lIns="94764" tIns="47382" rIns="94764" bIns="4738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0506" y="9720674"/>
            <a:ext cx="3077137" cy="512303"/>
          </a:xfrm>
          <a:prstGeom prst="rect">
            <a:avLst/>
          </a:prstGeom>
        </p:spPr>
        <p:txBody>
          <a:bodyPr vert="horz" lIns="94764" tIns="47382" rIns="94764" bIns="47382" rtlCol="0" anchor="b"/>
          <a:lstStyle>
            <a:lvl1pPr algn="r">
              <a:defRPr sz="1200"/>
            </a:lvl1pPr>
          </a:lstStyle>
          <a:p>
            <a:fld id="{FE2FF354-5617-41B0-9008-41D90099411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82907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FF354-5617-41B0-9008-41D900994110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8012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50" y="2427585"/>
            <a:ext cx="8172140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50" y="2773186"/>
            <a:ext cx="8172140" cy="87868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9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96260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7A4F4E5-4332-4178-A01E-343EE5CA14E7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ACFD1F-1145-4989-8ECF-1443F5A563C5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9"/>
            <a:ext cx="8353426" cy="2808287"/>
          </a:xfrm>
        </p:spPr>
        <p:txBody>
          <a:bodyPr/>
          <a:lstStyle>
            <a:lvl1pPr marL="177803" indent="-177803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45" indent="-184152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50" indent="-177803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40" indent="-179391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95" indent="-177803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13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9"/>
            <a:ext cx="8353426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2" indent="-184152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6" indent="-177803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61" indent="-17939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15" indent="-177803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D2B891-6348-4B2C-8286-EC256CF3BC32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6" cy="1368425"/>
          </a:xfrm>
        </p:spPr>
        <p:txBody>
          <a:bodyPr/>
          <a:lstStyle>
            <a:lvl1pPr marL="177803" indent="-17780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45" indent="-184152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50" indent="-17780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40" indent="-17939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95" indent="-17780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6F0450-EC04-4ACC-955C-5B6D32893859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6" cy="1368426"/>
          </a:xfrm>
        </p:spPr>
        <p:txBody>
          <a:bodyPr/>
          <a:lstStyle>
            <a:lvl1pPr marL="177803" indent="-17780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45" indent="-184152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50" indent="-17780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40" indent="-17939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95" indent="-17780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9766DE1-B073-466C-8ADD-DAF89C5C9DB6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90" y="1347789"/>
            <a:ext cx="4140201" cy="2808287"/>
          </a:xfr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9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0E5D67F-0FC1-4FF7-9692-4EE3E28B9052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90" y="1347789"/>
            <a:ext cx="4140201" cy="2808287"/>
          </a:xfr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3A5E571-5FB7-4C8E-9DF1-B9DF649F0515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9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9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1E69F85C-71E6-4293-AE63-17B65478105B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13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967DC5-8EB9-41C9-8AC6-F01D99B06BE0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7226;MIO_UPDATE=True;MIO_VERSION=17.03.2014 13:10:5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9" y="4320706"/>
            <a:ext cx="8353426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5955196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1"/>
            <a:ext cx="8353426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4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F1EC30F6-01E7-4CBD-80AE-8A2AA5D7E3F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7" y="4665239"/>
            <a:ext cx="2001934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6" y="4665239"/>
            <a:ext cx="360290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501409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99"/>
            <a:r>
              <a:rPr lang="en-US" sz="700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501407" y="4561588"/>
            <a:ext cx="2726779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99"/>
            <a:r>
              <a:rPr lang="en-US" sz="700" b="1" noProof="0">
                <a:solidFill>
                  <a:schemeClr val="tx1"/>
                </a:solidFill>
                <a:latin typeface="+mn-lt"/>
              </a:rPr>
              <a:t>Central Electronic Plants</a:t>
            </a:r>
          </a:p>
        </p:txBody>
      </p:sp>
      <p:sp>
        <p:nvSpPr>
          <p:cNvPr id="4" name="Ellipse 3" hidden="1"/>
          <p:cNvSpPr/>
          <p:nvPr>
            <p:custDataLst>
              <p:tags r:id="rId15"/>
            </p:custDataLst>
          </p:nvPr>
        </p:nvSpPr>
        <p:spPr>
          <a:xfrm>
            <a:off x="-1270000" y="-952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4" r:id="rId2"/>
    <p:sldLayoutId id="2147483659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7" r:id="rId9"/>
    <p:sldLayoutId id="2147483668" r:id="rId10"/>
    <p:sldLayoutId id="2147483671" r:id="rId11"/>
  </p:sldLayoutIdLst>
  <p:transition>
    <p:fade/>
  </p:transition>
  <p:hf hdr="0"/>
  <p:txStyles>
    <p:titleStyle>
      <a:lvl1pPr algn="l" defTabSz="914411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3" indent="-177803" algn="l" defTabSz="914411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45" indent="-184152" algn="l" defTabSz="914411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50" indent="-177803" algn="l" defTabSz="914411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40" indent="-179391" algn="l" defTabSz="914411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95" indent="-177803" algn="l" defTabSz="914411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32" indent="-228604" algn="l" defTabSz="9144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hyperlink" Target="https://www.ictworks.org/neural-networks-social-connections-community-resettlement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the-algorithmic-society/machine-learning-a-newer-version-of-a-lean-thinking-tool-fbc460074e50" TargetMode="External"/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commons.wikimedia.org/wiki/File:Alzheimer's_disease-neuron_death.gif" TargetMode="External"/><Relationship Id="rId4" Type="http://schemas.openxmlformats.org/officeDocument/2006/relationships/image" Target="../media/image31.gi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stats.stackexchange.com/questions/413712/neural-network-why-can-nns-have-identical-structure-in-the-hidden-units-and-sti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g"/><Relationship Id="rId4" Type="http://schemas.openxmlformats.org/officeDocument/2006/relationships/image" Target="../media/image38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13" Type="http://schemas.openxmlformats.org/officeDocument/2006/relationships/image" Target="../media/image51.png"/><Relationship Id="rId3" Type="http://schemas.openxmlformats.org/officeDocument/2006/relationships/hyperlink" Target="http://wccftech.com/amazon-video-game-deals-week/" TargetMode="External"/><Relationship Id="rId7" Type="http://schemas.openxmlformats.org/officeDocument/2006/relationships/hyperlink" Target="http://www.silikn.com/2017/02/nuevas-formas-de-ver-videos-en-facebook.html" TargetMode="External"/><Relationship Id="rId12" Type="http://schemas.openxmlformats.org/officeDocument/2006/relationships/hyperlink" Target="https://en.wikipedia.org/wiki/IBM" TargetMode="External"/><Relationship Id="rId2" Type="http://schemas.openxmlformats.org/officeDocument/2006/relationships/image" Target="../media/image45.png"/><Relationship Id="rId16" Type="http://schemas.openxmlformats.org/officeDocument/2006/relationships/hyperlink" Target="https://en.wikipedia.org/wiki/Wikipedia:Graphics_Lab/Illustration_workshop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jpg"/><Relationship Id="rId11" Type="http://schemas.openxmlformats.org/officeDocument/2006/relationships/image" Target="../media/image50.png"/><Relationship Id="rId5" Type="http://schemas.openxmlformats.org/officeDocument/2006/relationships/hyperlink" Target="https://en.wikipedia.org/wiki/File:Spotify_logo_horizontal_black.jpg" TargetMode="External"/><Relationship Id="rId15" Type="http://schemas.openxmlformats.org/officeDocument/2006/relationships/image" Target="../media/image52.png"/><Relationship Id="rId10" Type="http://schemas.openxmlformats.org/officeDocument/2006/relationships/hyperlink" Target="https://www.hardwaremax.it/news/giochi-console/12972-nvidia-no-alla-rivendita-dei-codici-di-gioco-dei-bundle-e-gli-utenti-si-ribellano.html" TargetMode="External"/><Relationship Id="rId4" Type="http://schemas.openxmlformats.org/officeDocument/2006/relationships/image" Target="../media/image46.jpg"/><Relationship Id="rId9" Type="http://schemas.openxmlformats.org/officeDocument/2006/relationships/image" Target="../media/image49.jpg"/><Relationship Id="rId14" Type="http://schemas.openxmlformats.org/officeDocument/2006/relationships/hyperlink" Target="http://pngimg.com/download/19644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jpe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avidUrz/AiContinental" TargetMode="External"/><Relationship Id="rId2" Type="http://schemas.openxmlformats.org/officeDocument/2006/relationships/hyperlink" Target="https://www.anaconda.com/distribution/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enti.com/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hyperlink" Target="mailto:raymundo.inda-meza@continental-corporation.com" TargetMode="Externa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scherlund.blogspot.com/2018/01/5-innovative-uses-for-machine-learning.html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Wing_mirror" TargetMode="External"/><Relationship Id="rId7" Type="http://schemas.openxmlformats.org/officeDocument/2006/relationships/hyperlink" Target="https://commons.wikimedia.org/wiki/File:2014_Toyota_Corolla_1.8_LE_(ZRE172),_front_left.jpg" TargetMode="External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g"/><Relationship Id="rId5" Type="http://schemas.openxmlformats.org/officeDocument/2006/relationships/hyperlink" Target="http://mechanics.stackexchange.com/questions/15067/when-unidirectional-tires-are-rotated-do-they-also-need-to-be-flipped" TargetMode="External"/><Relationship Id="rId4" Type="http://schemas.openxmlformats.org/officeDocument/2006/relationships/image" Target="../media/image1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B47D371-DFD1-45ED-B3F8-0F3B80EDD9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34243"/>
            <a:ext cx="9144000" cy="3309257"/>
          </a:xfrm>
          <a:prstGeom prst="rect">
            <a:avLst/>
          </a:prstGeom>
        </p:spPr>
      </p:pic>
      <p:sp>
        <p:nvSpPr>
          <p:cNvPr id="18" name="Title 17"/>
          <p:cNvSpPr>
            <a:spLocks noGrp="1"/>
          </p:cNvSpPr>
          <p:nvPr>
            <p:ph type="ctrTitle"/>
          </p:nvPr>
        </p:nvSpPr>
        <p:spPr>
          <a:xfrm>
            <a:off x="3059832" y="627534"/>
            <a:ext cx="6084168" cy="864096"/>
          </a:xfrm>
        </p:spPr>
        <p:txBody>
          <a:bodyPr/>
          <a:lstStyle/>
          <a:p>
            <a:pPr algn="ctr"/>
            <a:r>
              <a:rPr lang="es-MX" sz="2800" dirty="0"/>
              <a:t>Proyectos para Fabrica Inteligente integrados con </a:t>
            </a:r>
            <a:r>
              <a:rPr lang="es-MX" sz="2800" dirty="0" err="1"/>
              <a:t>IIoT</a:t>
            </a:r>
            <a:r>
              <a:rPr lang="es-MX" sz="2800" dirty="0"/>
              <a:t> y </a:t>
            </a:r>
            <a:r>
              <a:rPr lang="es-MX" sz="2800" dirty="0" err="1"/>
              <a:t>Ai</a:t>
            </a:r>
            <a:endParaRPr lang="es-MX" sz="2800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C6F14E-0B04-40B0-8699-2CE9D9156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4B7B18-6B7E-4B6E-956B-466C823C74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6C8DFE-85EE-44BB-A94B-B4F18A3FF8E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1466E47-6F81-4F3F-AE1A-233C04811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A espectro completo</a:t>
            </a:r>
          </a:p>
        </p:txBody>
      </p:sp>
      <p:pic>
        <p:nvPicPr>
          <p:cNvPr id="7" name="Marcador de contenido 4">
            <a:extLst>
              <a:ext uri="{FF2B5EF4-FFF2-40B4-BE49-F238E27FC236}">
                <a16:creationId xmlns:a16="http://schemas.microsoft.com/office/drawing/2014/main" id="{66B2A7FD-44AB-40D5-AA5D-397A5C6603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314" y="1484132"/>
            <a:ext cx="4176711" cy="21752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75CC799-7BDC-4DF9-BD2D-828C5B859C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190" b="90646" l="9200" r="91467">
                        <a14:foregroundMark x1="33600" y1="17882" x2="42667" y2="13205"/>
                        <a14:foregroundMark x1="42667" y1="13205" x2="54267" y2="12655"/>
                        <a14:foregroundMark x1="54267" y1="12655" x2="67333" y2="16369"/>
                        <a14:foregroundMark x1="47067" y1="6327" x2="47067" y2="6327"/>
                        <a14:foregroundMark x1="9200" y1="49656" x2="9200" y2="49656"/>
                        <a14:foregroundMark x1="53467" y1="90784" x2="53467" y2="90784"/>
                        <a14:foregroundMark x1="91467" y1="48968" x2="91467" y2="4896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2208" y="1023938"/>
            <a:ext cx="3458478" cy="3352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5247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E83E23-8D6B-48F1-A3F6-46D4C834D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840C29-5164-4122-87AB-9E05ED2271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257871-8123-49EA-8830-34027355C5F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9A47577-0927-4657-A911-2DD72A23D3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Uso de DL en Continental </a:t>
            </a:r>
            <a:r>
              <a:rPr lang="es-MX" dirty="0" err="1"/>
              <a:t>Mnfc</a:t>
            </a:r>
            <a:endParaRPr lang="es-MX" dirty="0"/>
          </a:p>
        </p:txBody>
      </p:sp>
      <p:pic>
        <p:nvPicPr>
          <p:cNvPr id="7" name="Marcador de contenido 8" descr="Imagen que contiene persona, foto&#10;&#10;Descripción generada automáticamente">
            <a:extLst>
              <a:ext uri="{FF2B5EF4-FFF2-40B4-BE49-F238E27FC236}">
                <a16:creationId xmlns:a16="http://schemas.microsoft.com/office/drawing/2014/main" id="{2E809040-2571-4010-83D7-D39AC2B63B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311" b="17028"/>
          <a:stretch/>
        </p:blipFill>
        <p:spPr>
          <a:xfrm>
            <a:off x="1815776" y="843558"/>
            <a:ext cx="2468192" cy="323476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71A55F2-1753-47AC-BE7C-9350D5A3023A}"/>
              </a:ext>
            </a:extLst>
          </p:cNvPr>
          <p:cNvSpPr txBox="1">
            <a:spLocks/>
          </p:cNvSpPr>
          <p:nvPr/>
        </p:nvSpPr>
        <p:spPr>
          <a:xfrm>
            <a:off x="4421786" y="1148500"/>
            <a:ext cx="3534590" cy="3996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Clasificación de módulos </a:t>
            </a:r>
          </a:p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Detección de fallas </a:t>
            </a:r>
          </a:p>
          <a:p>
            <a:pPr marL="0" indent="0">
              <a:buFont typeface="Wingdings 2" panose="05020102010507070707" pitchFamily="18" charset="2"/>
              <a:buNone/>
            </a:pPr>
            <a:endParaRPr lang="es-MX" dirty="0"/>
          </a:p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Beneficios:</a:t>
            </a:r>
          </a:p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Probado con buenos resultados con solo 70 muestras por objeto.</a:t>
            </a:r>
          </a:p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Tiempo de respuesta en ms.</a:t>
            </a:r>
          </a:p>
          <a:p>
            <a:pPr marL="0" indent="0">
              <a:buFont typeface="Wingdings 2" panose="05020102010507070707" pitchFamily="18" charset="2"/>
              <a:buNone/>
            </a:pPr>
            <a:endParaRPr lang="es-MX" dirty="0"/>
          </a:p>
          <a:p>
            <a:pPr marL="0" indent="0">
              <a:buFont typeface="Wingdings 2" panose="05020102010507070707" pitchFamily="18" charset="2"/>
              <a:buNone/>
            </a:pPr>
            <a:endParaRPr lang="es-MX" dirty="0"/>
          </a:p>
          <a:p>
            <a:pPr marL="0" indent="0">
              <a:buFont typeface="Wingdings 2" panose="05020102010507070707" pitchFamily="18" charset="2"/>
              <a:buNone/>
            </a:pPr>
            <a:endParaRPr lang="es-MX" dirty="0"/>
          </a:p>
          <a:p>
            <a:pPr marL="0" indent="0">
              <a:buFont typeface="Wingdings 2" panose="05020102010507070707" pitchFamily="18" charset="2"/>
              <a:buNone/>
            </a:pP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54022001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CDEB96-F2BA-4FD3-9E14-306F41A7B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4BB49C-4CA9-4FEB-BFC5-F4F088F796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02DEF5-15CB-4BE6-BDCB-FD1BD5CB6E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7D80309-860F-4273-9D56-2065D0D169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écnicas ML 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5603F41-07CD-4488-9D6C-66D9B6EA65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1347788"/>
            <a:ext cx="8353425" cy="2808287"/>
          </a:xfrm>
        </p:spPr>
        <p:txBody>
          <a:bodyPr>
            <a:normAutofit/>
          </a:bodyPr>
          <a:lstStyle/>
          <a:p>
            <a:r>
              <a:rPr lang="es-MX" b="1" dirty="0"/>
              <a:t>Redes Neuronales 1</a:t>
            </a:r>
          </a:p>
          <a:p>
            <a:r>
              <a:rPr lang="es-MX" dirty="0"/>
              <a:t>Arboles de decisión 2</a:t>
            </a:r>
          </a:p>
          <a:p>
            <a:r>
              <a:rPr lang="es-MX" dirty="0"/>
              <a:t>Regresión 3</a:t>
            </a:r>
          </a:p>
          <a:p>
            <a:r>
              <a:rPr lang="es-MX" dirty="0"/>
              <a:t>Clasificación 4</a:t>
            </a:r>
          </a:p>
        </p:txBody>
      </p:sp>
      <p:pic>
        <p:nvPicPr>
          <p:cNvPr id="8" name="Picture 8" descr="Imagen relacionada">
            <a:extLst>
              <a:ext uri="{FF2B5EF4-FFF2-40B4-BE49-F238E27FC236}">
                <a16:creationId xmlns:a16="http://schemas.microsoft.com/office/drawing/2014/main" id="{2D901B1A-640B-4C3A-9411-E221577E04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70506" y="243593"/>
            <a:ext cx="3979521" cy="2530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Resultado de imagen para kmeans">
            <a:extLst>
              <a:ext uri="{FF2B5EF4-FFF2-40B4-BE49-F238E27FC236}">
                <a16:creationId xmlns:a16="http://schemas.microsoft.com/office/drawing/2014/main" id="{27523348-210B-4B90-9C1A-78A589C939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81082" y="2936032"/>
            <a:ext cx="1410151" cy="1054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Resultado de imagen para regresion lineal">
            <a:extLst>
              <a:ext uri="{FF2B5EF4-FFF2-40B4-BE49-F238E27FC236}">
                <a16:creationId xmlns:a16="http://schemas.microsoft.com/office/drawing/2014/main" id="{4A22BF10-0A0F-4A79-88DC-074B460944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60258" y="2938255"/>
            <a:ext cx="1428235" cy="942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Resultado de imagen para arboles de decision ml">
            <a:extLst>
              <a:ext uri="{FF2B5EF4-FFF2-40B4-BE49-F238E27FC236}">
                <a16:creationId xmlns:a16="http://schemas.microsoft.com/office/drawing/2014/main" id="{478D222C-A942-47D3-94BD-CDC4FDF81C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79912" y="2763489"/>
            <a:ext cx="1298785" cy="1226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979BA2E-0003-4CA5-9CD8-7811795E5BCD}"/>
              </a:ext>
            </a:extLst>
          </p:cNvPr>
          <p:cNvSpPr txBox="1"/>
          <p:nvPr/>
        </p:nvSpPr>
        <p:spPr>
          <a:xfrm>
            <a:off x="8088344" y="719903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908C4F-2D2B-49ED-84C2-D3BB6205AE02}"/>
              </a:ext>
            </a:extLst>
          </p:cNvPr>
          <p:cNvSpPr txBox="1"/>
          <p:nvPr/>
        </p:nvSpPr>
        <p:spPr>
          <a:xfrm>
            <a:off x="4901058" y="2774107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4C7908F-D419-44F5-A337-C16B11B9F9EF}"/>
              </a:ext>
            </a:extLst>
          </p:cNvPr>
          <p:cNvSpPr txBox="1"/>
          <p:nvPr/>
        </p:nvSpPr>
        <p:spPr>
          <a:xfrm>
            <a:off x="6804249" y="2774107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3C510B3-A0AD-42FD-A74E-D1D7CA64629A}"/>
              </a:ext>
            </a:extLst>
          </p:cNvPr>
          <p:cNvSpPr txBox="1"/>
          <p:nvPr/>
        </p:nvSpPr>
        <p:spPr>
          <a:xfrm>
            <a:off x="8314954" y="277852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30589335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7A3753-DC1B-45A3-BEB2-0046F0A41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3D8295-1FE2-4A39-85D1-A95B78A3F2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E7DBB0-E9D1-40B8-8A7A-4A1956FF3C2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612251-F89B-482F-86D5-677AF1CBD1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ML, Tipos de Algoritmo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E0AB72B-4DC4-424B-BD20-6869942394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528" y="915566"/>
            <a:ext cx="2880320" cy="3240360"/>
          </a:xfrm>
        </p:spPr>
        <p:txBody>
          <a:bodyPr>
            <a:normAutofit fontScale="25000" lnSpcReduction="20000"/>
          </a:bodyPr>
          <a:lstStyle/>
          <a:p>
            <a:r>
              <a:rPr lang="es-MX" sz="3600" b="1" dirty="0"/>
              <a:t>Aprendizaje Supervisado---1</a:t>
            </a:r>
          </a:p>
          <a:p>
            <a:pPr lvl="1"/>
            <a:r>
              <a:rPr lang="es-MX" sz="3600" dirty="0"/>
              <a:t>Aprender a base de ejemplos etiquetados</a:t>
            </a:r>
          </a:p>
          <a:p>
            <a:pPr lvl="1"/>
            <a:r>
              <a:rPr lang="es-MX" sz="3600" dirty="0"/>
              <a:t>Clasificación y Regresión</a:t>
            </a:r>
          </a:p>
          <a:p>
            <a:pPr lvl="1"/>
            <a:r>
              <a:rPr lang="es-MX" sz="3600" dirty="0" err="1"/>
              <a:t>Ej</a:t>
            </a:r>
            <a:r>
              <a:rPr lang="es-MX" sz="3600" dirty="0"/>
              <a:t>: Identificación de Spam</a:t>
            </a:r>
          </a:p>
          <a:p>
            <a:r>
              <a:rPr lang="es-MX" sz="3600" b="1" dirty="0"/>
              <a:t>Aprendizaje No Supervisado--- 2</a:t>
            </a:r>
          </a:p>
          <a:p>
            <a:pPr lvl="1"/>
            <a:r>
              <a:rPr lang="es-MX" sz="3600" dirty="0"/>
              <a:t>Patrones no etiquetados</a:t>
            </a:r>
          </a:p>
          <a:p>
            <a:pPr lvl="1"/>
            <a:r>
              <a:rPr lang="es-MX" sz="3600" dirty="0" err="1"/>
              <a:t>Clusterización</a:t>
            </a:r>
            <a:r>
              <a:rPr lang="es-MX" sz="3600" dirty="0"/>
              <a:t> y Asociación</a:t>
            </a:r>
          </a:p>
          <a:p>
            <a:pPr lvl="1"/>
            <a:r>
              <a:rPr lang="es-MX" sz="3600" dirty="0" err="1"/>
              <a:t>Ej</a:t>
            </a:r>
            <a:r>
              <a:rPr lang="es-MX" sz="3600" dirty="0"/>
              <a:t>: </a:t>
            </a:r>
            <a:r>
              <a:rPr lang="es-MX" sz="3600" dirty="0" err="1"/>
              <a:t>Clusterización</a:t>
            </a:r>
            <a:r>
              <a:rPr lang="es-MX" sz="3600" dirty="0"/>
              <a:t> </a:t>
            </a:r>
          </a:p>
          <a:p>
            <a:r>
              <a:rPr lang="es-MX" sz="3600" b="1" dirty="0"/>
              <a:t>Aprendizaje Reforzado---- 3</a:t>
            </a:r>
          </a:p>
          <a:p>
            <a:pPr lvl="1"/>
            <a:r>
              <a:rPr lang="es-MX" sz="3600" dirty="0"/>
              <a:t>Aprendizaje a base de prueba y error</a:t>
            </a:r>
          </a:p>
          <a:p>
            <a:pPr lvl="1"/>
            <a:r>
              <a:rPr lang="es-MX" sz="3600" dirty="0"/>
              <a:t>Robótica, Juegos</a:t>
            </a:r>
          </a:p>
          <a:p>
            <a:pPr lvl="1"/>
            <a:r>
              <a:rPr lang="es-MX" sz="3600" dirty="0" err="1"/>
              <a:t>Ej</a:t>
            </a:r>
            <a:r>
              <a:rPr lang="es-MX" sz="3600" dirty="0"/>
              <a:t>: Ajedrez, Cobots</a:t>
            </a:r>
          </a:p>
          <a:p>
            <a:pPr marL="0" indent="0">
              <a:buNone/>
            </a:pPr>
            <a:endParaRPr lang="es-MX" dirty="0"/>
          </a:p>
        </p:txBody>
      </p:sp>
      <p:pic>
        <p:nvPicPr>
          <p:cNvPr id="8" name="Imagen 6" descr="Imagen que contiene captura de pantalla, cielo, exterior&#10;&#10;Descripción generada automáticamente">
            <a:extLst>
              <a:ext uri="{FF2B5EF4-FFF2-40B4-BE49-F238E27FC236}">
                <a16:creationId xmlns:a16="http://schemas.microsoft.com/office/drawing/2014/main" id="{6E191F2C-901D-4E9B-A950-1EF53697AE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14" b="19864"/>
          <a:stretch/>
        </p:blipFill>
        <p:spPr>
          <a:xfrm>
            <a:off x="3472855" y="843558"/>
            <a:ext cx="1427682" cy="2125012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6FE96614-843F-4270-BB88-7176A1F854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833376" y="1873696"/>
            <a:ext cx="2213556" cy="1380014"/>
          </a:xfrm>
          <a:prstGeom prst="rect">
            <a:avLst/>
          </a:prstGeom>
        </p:spPr>
      </p:pic>
      <p:pic>
        <p:nvPicPr>
          <p:cNvPr id="11" name="Imagen 8">
            <a:extLst>
              <a:ext uri="{FF2B5EF4-FFF2-40B4-BE49-F238E27FC236}">
                <a16:creationId xmlns:a16="http://schemas.microsoft.com/office/drawing/2014/main" id="{2FF578E3-1D75-4C25-8C62-CEC048027C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04732" y="2862167"/>
            <a:ext cx="2556037" cy="1126389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EACB009-3654-4DBA-9DDC-A9D9B8BF3B74}"/>
              </a:ext>
            </a:extLst>
          </p:cNvPr>
          <p:cNvSpPr txBox="1">
            <a:spLocks/>
          </p:cNvSpPr>
          <p:nvPr/>
        </p:nvSpPr>
        <p:spPr>
          <a:xfrm>
            <a:off x="4886708" y="997500"/>
            <a:ext cx="360290" cy="4881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1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B2E82A5-C254-4CC7-A4C5-8C5A890B3675}"/>
              </a:ext>
            </a:extLst>
          </p:cNvPr>
          <p:cNvSpPr txBox="1">
            <a:spLocks/>
          </p:cNvSpPr>
          <p:nvPr/>
        </p:nvSpPr>
        <p:spPr>
          <a:xfrm>
            <a:off x="7046932" y="1815993"/>
            <a:ext cx="360290" cy="4881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2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8585C60-1A99-449F-8AAA-4AA747D8E718}"/>
              </a:ext>
            </a:extLst>
          </p:cNvPr>
          <p:cNvSpPr txBox="1">
            <a:spLocks/>
          </p:cNvSpPr>
          <p:nvPr/>
        </p:nvSpPr>
        <p:spPr>
          <a:xfrm>
            <a:off x="8793113" y="2526432"/>
            <a:ext cx="360290" cy="3357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es-MX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9147689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221A5E45-AB4A-4901-824B-B96913293C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" r="13976"/>
          <a:stretch/>
        </p:blipFill>
        <p:spPr>
          <a:xfrm rot="5400000">
            <a:off x="1465328" y="1609981"/>
            <a:ext cx="2556274" cy="1671523"/>
          </a:xfr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D8A4B25-F2D5-4610-A180-7B2FF74E9B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7BC410-F4B4-4BBB-A16E-6D83EC358C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5BB79F-44DE-4B36-B17C-E8FA4AC53E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EE787FE-E24D-4E95-B1FC-8BF5EB3DE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mo la IA aprende diferencias ?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3D0EC-C05A-4B23-9415-F4E9F648DFC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282" r="14128"/>
          <a:stretch/>
        </p:blipFill>
        <p:spPr>
          <a:xfrm rot="5400000">
            <a:off x="3909156" y="1542417"/>
            <a:ext cx="2556274" cy="18066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0323607-C562-47E3-9F23-B1E3E46D65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52120" y="303212"/>
            <a:ext cx="3166127" cy="419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4018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21D3C78-C2F0-46F2-A391-542CA0AAFE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023939"/>
            <a:ext cx="8353426" cy="3132138"/>
          </a:xfrm>
        </p:spPr>
        <p:txBody>
          <a:bodyPr>
            <a:normAutofit lnSpcReduction="10000"/>
          </a:bodyPr>
          <a:lstStyle/>
          <a:p>
            <a:r>
              <a:rPr lang="es-MX" sz="1800" b="1" dirty="0"/>
              <a:t>Somos psicólogos y nos especializamos en divorcios.</a:t>
            </a:r>
          </a:p>
          <a:p>
            <a:r>
              <a:rPr lang="es-MX" sz="1800" b="1" dirty="0"/>
              <a:t>Hemos tratado a lo largo de nuestra carrera 3000 parejas.</a:t>
            </a:r>
          </a:p>
          <a:p>
            <a:r>
              <a:rPr lang="es-MX" sz="1800" b="1"/>
              <a:t>Sabemos </a:t>
            </a:r>
            <a:r>
              <a:rPr lang="es-MX" sz="1800" b="1" dirty="0"/>
              <a:t>que características hacen que se concluya la relación con un divorcio como:</a:t>
            </a:r>
          </a:p>
          <a:p>
            <a:r>
              <a:rPr lang="es-MX" sz="1800" b="1" dirty="0"/>
              <a:t>Su estado socioeconómico, cuantos hijos tienen, sus familias, vida social.</a:t>
            </a:r>
          </a:p>
          <a:p>
            <a:r>
              <a:rPr lang="es-MX" sz="1800" b="1" dirty="0"/>
              <a:t>Y nosotros etiquetamos que parejas con que características terminan en divorcio.</a:t>
            </a:r>
          </a:p>
          <a:p>
            <a:r>
              <a:rPr lang="es-MX" sz="1800" b="1" dirty="0"/>
              <a:t>Lo que nos permite saber a futuro si una pareja se va a divorciar o no por sus características.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EB7E3F-8FE8-4988-A155-8C7CA221E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93138C-DFC4-4135-8C99-CDFD942B0F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BC2516-1EFA-4D0C-AEF2-1D69FBAB85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23FDEB9-A46C-4B48-9B2E-0FF863CE3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Ejemplo Parejas y Divorcio</a:t>
            </a:r>
          </a:p>
        </p:txBody>
      </p:sp>
    </p:spTree>
    <p:extLst>
      <p:ext uri="{BB962C8B-B14F-4D97-AF65-F5344CB8AC3E}">
        <p14:creationId xmlns:p14="http://schemas.microsoft.com/office/powerpoint/2010/main" val="1728508222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4137044-A5B7-4840-9EE3-8A37548A7C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348A5C-8F56-4AB6-B76E-6A7FE6D751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E8AAA7-005C-4F8C-85FA-4CAC0E7DA17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237AD3F-0CD6-4F9F-AA73-068F1EFCC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Neural </a:t>
            </a:r>
            <a:r>
              <a:rPr lang="es-MX" dirty="0" err="1"/>
              <a:t>networks</a:t>
            </a:r>
            <a:r>
              <a:rPr lang="es-MX" dirty="0"/>
              <a:t> – Redes neuronales </a:t>
            </a:r>
          </a:p>
        </p:txBody>
      </p:sp>
      <p:pic>
        <p:nvPicPr>
          <p:cNvPr id="7" name="Imagen 4">
            <a:extLst>
              <a:ext uri="{FF2B5EF4-FFF2-40B4-BE49-F238E27FC236}">
                <a16:creationId xmlns:a16="http://schemas.microsoft.com/office/drawing/2014/main" id="{20F0EC8A-A517-49A8-9551-4A698E6E53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012160" y="2243096"/>
            <a:ext cx="2160240" cy="1814048"/>
          </a:xfrm>
          <a:prstGeom prst="rect">
            <a:avLst/>
          </a:prstGeom>
        </p:spPr>
      </p:pic>
      <p:pic>
        <p:nvPicPr>
          <p:cNvPr id="8" name="Imagen 7" descr="Imagen que contiene árbol, pájaro, exterior, cielo&#10;&#10;Descripción generada automáticamente">
            <a:extLst>
              <a:ext uri="{FF2B5EF4-FFF2-40B4-BE49-F238E27FC236}">
                <a16:creationId xmlns:a16="http://schemas.microsoft.com/office/drawing/2014/main" id="{383ECB5A-4418-4B7F-A212-638F1366E9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228184" y="1072069"/>
            <a:ext cx="1944216" cy="1091752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EF467E5-F193-4BFF-A43D-2D82017859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512" y="1062480"/>
            <a:ext cx="5256584" cy="2800477"/>
          </a:xfrm>
        </p:spPr>
        <p:txBody>
          <a:bodyPr>
            <a:normAutofit/>
          </a:bodyPr>
          <a:lstStyle/>
          <a:p>
            <a:r>
              <a:rPr lang="es-MX" dirty="0"/>
              <a:t>Modelo computacional vagamente inspirado en el comportamiento observado en su homologo biológico.</a:t>
            </a:r>
          </a:p>
          <a:p>
            <a:pPr lvl="1"/>
            <a:r>
              <a:rPr lang="es-MX" dirty="0"/>
              <a:t>Consiste en un conjunto de unidades, llamadas neuronas artificiales, conectadas entre si para transmitirse señales. La información de entrada atraviesa la red neuronal (donde se somete a diversas operaciones) produciendo unos valores de salida.</a:t>
            </a:r>
          </a:p>
        </p:txBody>
      </p:sp>
    </p:spTree>
    <p:extLst>
      <p:ext uri="{BB962C8B-B14F-4D97-AF65-F5344CB8AC3E}">
        <p14:creationId xmlns:p14="http://schemas.microsoft.com/office/powerpoint/2010/main" val="213373371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FE33F0-CA99-4197-B17C-FF36D4B1C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942BCD-D3A9-4CEF-BA4B-ACA2FE662D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9E45F4-B46B-4611-9D04-3F28CBD365F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D1D43D6-F476-4482-9E8A-16099CF0F1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eurona</a:t>
            </a:r>
            <a:endParaRPr lang="es-MX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A15F2F8B-C5A0-49AB-BB6A-D855403597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1347788"/>
            <a:ext cx="8353425" cy="280828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1600" cap="all">
                <a:solidFill>
                  <a:schemeClr val="accent1"/>
                </a:solidFill>
              </a:rPr>
              <a:t>Entradas + Pesos + Sumatoria +Activación</a:t>
            </a:r>
          </a:p>
        </p:txBody>
      </p:sp>
      <p:pic>
        <p:nvPicPr>
          <p:cNvPr id="8" name="Marcador de contenido 3">
            <a:extLst>
              <a:ext uri="{FF2B5EF4-FFF2-40B4-BE49-F238E27FC236}">
                <a16:creationId xmlns:a16="http://schemas.microsoft.com/office/drawing/2014/main" id="{F08A9D10-7514-496A-AAA5-AA1EAF34F0A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" b="1306"/>
          <a:stretch/>
        </p:blipFill>
        <p:spPr>
          <a:xfrm>
            <a:off x="395286" y="1819352"/>
            <a:ext cx="4752777" cy="2099106"/>
          </a:xfrm>
          <a:prstGeom prst="rect">
            <a:avLst/>
          </a:prstGeom>
        </p:spPr>
      </p:pic>
      <p:pic>
        <p:nvPicPr>
          <p:cNvPr id="9" name="Imagen 7">
            <a:extLst>
              <a:ext uri="{FF2B5EF4-FFF2-40B4-BE49-F238E27FC236}">
                <a16:creationId xmlns:a16="http://schemas.microsoft.com/office/drawing/2014/main" id="{6EEBF52E-4D78-4197-B87B-A25108911E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8038" y="1923678"/>
            <a:ext cx="2225604" cy="2063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0131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EC476D-AAC0-48B5-8D09-673C3852CD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6AC376-C658-4086-88F6-FD492A13EA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0B6F2D-F70B-413C-8B84-9AEBC931DF5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19A9483-1998-4AA4-906A-D47730355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Red Neuronal </a:t>
            </a:r>
          </a:p>
        </p:txBody>
      </p:sp>
      <p:pic>
        <p:nvPicPr>
          <p:cNvPr id="7" name="Marcador de contenido 4">
            <a:extLst>
              <a:ext uri="{FF2B5EF4-FFF2-40B4-BE49-F238E27FC236}">
                <a16:creationId xmlns:a16="http://schemas.microsoft.com/office/drawing/2014/main" id="{4DF15C0C-B7E3-4EA2-8846-B63D760191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426518" y="1167606"/>
            <a:ext cx="4294784" cy="2808287"/>
          </a:xfrm>
        </p:spPr>
      </p:pic>
      <p:pic>
        <p:nvPicPr>
          <p:cNvPr id="8" name="Imagen 9">
            <a:extLst>
              <a:ext uri="{FF2B5EF4-FFF2-40B4-BE49-F238E27FC236}">
                <a16:creationId xmlns:a16="http://schemas.microsoft.com/office/drawing/2014/main" id="{BE4F63FF-F3F2-44C9-96DE-D7994C3F1C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1336" y="1326735"/>
            <a:ext cx="4452664" cy="264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18840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108DFF-C3DF-4A91-93AE-5EF41014E9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49D74B-201F-45F1-8E7E-85CC6E0823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9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92FF86-5943-4107-9731-F0D59E26B41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71336B-4D61-4627-8F0F-AD3417253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591532"/>
            <a:ext cx="5955196" cy="720726"/>
          </a:xfrm>
        </p:spPr>
        <p:txBody>
          <a:bodyPr/>
          <a:lstStyle/>
          <a:p>
            <a:r>
              <a:rPr lang="en-US" dirty="0" err="1"/>
              <a:t>Funciones</a:t>
            </a:r>
            <a:r>
              <a:rPr lang="en-US" dirty="0"/>
              <a:t> de </a:t>
            </a:r>
            <a:r>
              <a:rPr lang="en-US" dirty="0" err="1"/>
              <a:t>activación</a:t>
            </a:r>
            <a:endParaRPr lang="es-MX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25DDF145-B9B2-48E4-AF1C-00A9E4DFA42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51" r="22344" b="-1"/>
          <a:stretch/>
        </p:blipFill>
        <p:spPr>
          <a:xfrm>
            <a:off x="2492545" y="1760551"/>
            <a:ext cx="1762187" cy="2070692"/>
          </a:xfrm>
          <a:prstGeom prst="rect">
            <a:avLst/>
          </a:prstGeom>
        </p:spPr>
      </p:pic>
      <p:pic>
        <p:nvPicPr>
          <p:cNvPr id="8" name="Imagen 5" descr="Imagen que contiene texto&#10;&#10;Descripción generada automáticamente">
            <a:extLst>
              <a:ext uri="{FF2B5EF4-FFF2-40B4-BE49-F238E27FC236}">
                <a16:creationId xmlns:a16="http://schemas.microsoft.com/office/drawing/2014/main" id="{81CC4C2D-77B8-4615-9BEF-51F0C093816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82" r="21254" b="-1"/>
          <a:stretch/>
        </p:blipFill>
        <p:spPr>
          <a:xfrm>
            <a:off x="4604111" y="1759892"/>
            <a:ext cx="1757800" cy="2070692"/>
          </a:xfrm>
          <a:prstGeom prst="rect">
            <a:avLst/>
          </a:prstGeom>
        </p:spPr>
      </p:pic>
      <p:pic>
        <p:nvPicPr>
          <p:cNvPr id="9" name="Imagen 3" descr="Imagen que contiene negro&#10;&#10;Descripción generada automáticamente">
            <a:extLst>
              <a:ext uri="{FF2B5EF4-FFF2-40B4-BE49-F238E27FC236}">
                <a16:creationId xmlns:a16="http://schemas.microsoft.com/office/drawing/2014/main" id="{68A7870F-CBAC-4EE9-A308-E7C0C047603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10" r="19825" b="-1"/>
          <a:stretch/>
        </p:blipFill>
        <p:spPr>
          <a:xfrm>
            <a:off x="6745215" y="1759892"/>
            <a:ext cx="1757800" cy="2070692"/>
          </a:xfrm>
          <a:prstGeom prst="rect">
            <a:avLst/>
          </a:prstGeom>
        </p:spPr>
      </p:pic>
      <p:pic>
        <p:nvPicPr>
          <p:cNvPr id="10" name="Imagen 4" descr="Imagen que contiene negro, texto&#10;&#10;Descripción generada automáticamente">
            <a:extLst>
              <a:ext uri="{FF2B5EF4-FFF2-40B4-BE49-F238E27FC236}">
                <a16:creationId xmlns:a16="http://schemas.microsoft.com/office/drawing/2014/main" id="{792078BA-5BD0-4178-8152-BA7408EA54F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44" r="21091" b="-1"/>
          <a:stretch/>
        </p:blipFill>
        <p:spPr>
          <a:xfrm>
            <a:off x="385366" y="1760551"/>
            <a:ext cx="1757800" cy="2070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9203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5289" y="303211"/>
            <a:ext cx="5955196" cy="396331"/>
          </a:xfrm>
        </p:spPr>
        <p:txBody>
          <a:bodyPr/>
          <a:lstStyle/>
          <a:p>
            <a:r>
              <a:rPr lang="es-MX" dirty="0"/>
              <a:t>CONTENIDO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93F200-176D-4D26-A11C-DA19C6327032}"/>
              </a:ext>
            </a:extLst>
          </p:cNvPr>
          <p:cNvSpPr txBox="1"/>
          <p:nvPr/>
        </p:nvSpPr>
        <p:spPr>
          <a:xfrm>
            <a:off x="395289" y="932840"/>
            <a:ext cx="5397631" cy="3277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+mj-lt"/>
              <a:buAutoNum type="romanUcPeriod"/>
            </a:pPr>
            <a:r>
              <a:rPr lang="es-MX" sz="900" dirty="0"/>
              <a:t>Introducción a la Fabrica Inteligente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Que es la fabrica inteligente?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Que es </a:t>
            </a:r>
            <a:r>
              <a:rPr lang="es-MX" sz="900" dirty="0" err="1"/>
              <a:t>IIoT</a:t>
            </a:r>
            <a:r>
              <a:rPr lang="es-MX" sz="900" dirty="0"/>
              <a:t>?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Que es </a:t>
            </a:r>
            <a:r>
              <a:rPr lang="es-MX" sz="900" dirty="0" err="1"/>
              <a:t>Ai</a:t>
            </a:r>
            <a:r>
              <a:rPr lang="es-MX" sz="900" dirty="0"/>
              <a:t> industrial?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Aplicaciones industriales resueltas con fabrica inteligente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Esfuerzos de Continental para llegar a ser fabrica inteligente (localidades)</a:t>
            </a:r>
          </a:p>
          <a:p>
            <a:pPr marL="742950" lvl="1" indent="-285750">
              <a:buFont typeface="+mj-lt"/>
              <a:buAutoNum type="romanLcPeriod"/>
            </a:pPr>
            <a:endParaRPr lang="es-MX" sz="900" dirty="0"/>
          </a:p>
          <a:p>
            <a:pPr marL="285750" indent="-285750">
              <a:buFont typeface="+mj-lt"/>
              <a:buAutoNum type="romanUcPeriod"/>
            </a:pPr>
            <a:r>
              <a:rPr lang="es-MX" sz="900" dirty="0"/>
              <a:t>Posibilidades y fuentes de información del </a:t>
            </a:r>
            <a:r>
              <a:rPr lang="es-MX" sz="900" dirty="0" err="1"/>
              <a:t>IIoT</a:t>
            </a:r>
            <a:r>
              <a:rPr lang="es-MX" sz="900" dirty="0"/>
              <a:t> 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Sitios de interés encontrados en Google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Bibliografía sugerida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Socios tecnológicos (ej. Intel, </a:t>
            </a:r>
            <a:r>
              <a:rPr lang="es-MX" sz="900" dirty="0" err="1"/>
              <a:t>Nvidia</a:t>
            </a:r>
            <a:r>
              <a:rPr lang="es-MX" sz="900" dirty="0"/>
              <a:t>, Newark, Steren)</a:t>
            </a:r>
          </a:p>
          <a:p>
            <a:pPr marL="742950" lvl="1" indent="-285750">
              <a:buFont typeface="+mj-lt"/>
              <a:buAutoNum type="romanLcPeriod"/>
            </a:pPr>
            <a:endParaRPr lang="es-MX" sz="900" dirty="0"/>
          </a:p>
          <a:p>
            <a:pPr marL="285750" indent="-285750">
              <a:buFont typeface="+mj-lt"/>
              <a:buAutoNum type="romanUcPeriod"/>
            </a:pPr>
            <a:r>
              <a:rPr lang="es-MX" sz="900" dirty="0"/>
              <a:t>Posibilidades y fuentes de información de la </a:t>
            </a:r>
            <a:r>
              <a:rPr lang="es-MX" sz="900" dirty="0" err="1"/>
              <a:t>Ai</a:t>
            </a:r>
            <a:r>
              <a:rPr lang="es-MX" sz="900" dirty="0"/>
              <a:t> aplicada a la industria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Sitios de interés encontrados en Google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Bibliografía sugerida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Socios tecnológicos (ej. </a:t>
            </a:r>
            <a:r>
              <a:rPr lang="es-MX" sz="900" dirty="0" err="1"/>
              <a:t>Nvidia</a:t>
            </a:r>
            <a:r>
              <a:rPr lang="es-MX" sz="900" dirty="0"/>
              <a:t>, Google, Microsoft, Amazon, </a:t>
            </a:r>
            <a:r>
              <a:rPr lang="es-MX" sz="900" dirty="0" err="1"/>
              <a:t>Pytorch</a:t>
            </a:r>
            <a:r>
              <a:rPr lang="es-MX" sz="900" dirty="0"/>
              <a:t>, </a:t>
            </a:r>
            <a:r>
              <a:rPr lang="es-MX" sz="900" dirty="0" err="1"/>
              <a:t>Kaggle</a:t>
            </a:r>
            <a:r>
              <a:rPr lang="es-MX" sz="900" dirty="0"/>
              <a:t>)</a:t>
            </a:r>
          </a:p>
          <a:p>
            <a:pPr marL="742950" lvl="1" indent="-285750">
              <a:buFont typeface="+mj-lt"/>
              <a:buAutoNum type="romanLcPeriod"/>
            </a:pPr>
            <a:endParaRPr lang="es-MX" sz="900" dirty="0"/>
          </a:p>
          <a:p>
            <a:pPr marL="285750" indent="-285750">
              <a:buFont typeface="+mj-lt"/>
              <a:buAutoNum type="romanUcPeriod"/>
            </a:pPr>
            <a:r>
              <a:rPr lang="es-MX" sz="900" dirty="0"/>
              <a:t>Introducción a lenguajes de programación  para </a:t>
            </a:r>
            <a:r>
              <a:rPr lang="es-MX" sz="900" dirty="0" err="1"/>
              <a:t>Ai</a:t>
            </a:r>
            <a:endParaRPr lang="es-MX" sz="900" dirty="0"/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Alternativas de programación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Comunidades con mayor afluencia (Tensor Flow, </a:t>
            </a:r>
            <a:r>
              <a:rPr lang="es-MX" sz="900" dirty="0" err="1"/>
              <a:t>Kaggle</a:t>
            </a:r>
            <a:r>
              <a:rPr lang="es-MX" sz="900" dirty="0"/>
              <a:t>)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Desarrollo de aplicación para acceso controlado (ID de números escritos a mano)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Ejemplo desarrollado para colección de datos y toma de decisiones (control inteligente)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Ejemplo desarrollado para detección de logotipo de llav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706D84-BF23-429D-A16A-E654569FF183}"/>
              </a:ext>
            </a:extLst>
          </p:cNvPr>
          <p:cNvSpPr txBox="1"/>
          <p:nvPr/>
        </p:nvSpPr>
        <p:spPr>
          <a:xfrm>
            <a:off x="5702948" y="932840"/>
            <a:ext cx="305983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+mj-lt"/>
              <a:buAutoNum type="romanUcPeriod" startAt="5"/>
            </a:pPr>
            <a:r>
              <a:rPr lang="es-MX" sz="900" dirty="0"/>
              <a:t>Metodología del socio académico de UNIVA</a:t>
            </a:r>
          </a:p>
          <a:p>
            <a:pPr marL="285750" indent="-285750">
              <a:buFont typeface="+mj-lt"/>
              <a:buAutoNum type="romanUcPeriod" startAt="5"/>
            </a:pPr>
            <a:endParaRPr lang="es-MX" sz="900" dirty="0"/>
          </a:p>
          <a:p>
            <a:pPr marL="285750" indent="-285750">
              <a:buFont typeface="+mj-lt"/>
              <a:buAutoNum type="romanUcPeriod" startAt="5"/>
            </a:pPr>
            <a:r>
              <a:rPr lang="es-MX" sz="900" dirty="0"/>
              <a:t>Lanzamiento del reto: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Aplicado a Ingeniería de planta</a:t>
            </a:r>
          </a:p>
          <a:p>
            <a:pPr marL="742950" lvl="1" indent="-285750">
              <a:buFont typeface="+mj-lt"/>
              <a:buAutoNum type="romanLcPeriod"/>
            </a:pPr>
            <a:r>
              <a:rPr lang="es-MX" sz="900" dirty="0"/>
              <a:t>Aplicado a Inspección visual</a:t>
            </a:r>
            <a:endParaRPr lang="en-US" sz="9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B1B0F74-22F4-4D9B-A301-7A58B47262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2378" y="1995686"/>
            <a:ext cx="1956048" cy="195604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4090332590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F9149B-2969-463D-97C0-D19FD41A4E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191178-C3FA-404E-A0F5-EE0D5557D2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0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09B915-F4C2-447C-BE86-A952DCA11C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017CEC-865F-4796-81EE-FD4953792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Modelar Datos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9CD0C59-FD87-4B60-899D-7E05E77AFA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84" t="20919" r="29094" b="16021"/>
          <a:stretch/>
        </p:blipFill>
        <p:spPr>
          <a:xfrm>
            <a:off x="291921" y="1419622"/>
            <a:ext cx="2119839" cy="1932224"/>
          </a:xfrm>
          <a:prstGeom prst="rect">
            <a:avLst/>
          </a:prstGeom>
        </p:spPr>
      </p:pic>
      <p:pic>
        <p:nvPicPr>
          <p:cNvPr id="8" name="Imagen 12">
            <a:extLst>
              <a:ext uri="{FF2B5EF4-FFF2-40B4-BE49-F238E27FC236}">
                <a16:creationId xmlns:a16="http://schemas.microsoft.com/office/drawing/2014/main" id="{D92ED115-B96F-4C46-A76B-649ECF7818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097" t="2252" r="940" b="2662"/>
          <a:stretch/>
        </p:blipFill>
        <p:spPr>
          <a:xfrm>
            <a:off x="4898257" y="1373609"/>
            <a:ext cx="2001934" cy="2004820"/>
          </a:xfrm>
          <a:prstGeom prst="rect">
            <a:avLst/>
          </a:prstGeom>
        </p:spPr>
      </p:pic>
      <p:pic>
        <p:nvPicPr>
          <p:cNvPr id="9" name="Imagen 3">
            <a:extLst>
              <a:ext uri="{FF2B5EF4-FFF2-40B4-BE49-F238E27FC236}">
                <a16:creationId xmlns:a16="http://schemas.microsoft.com/office/drawing/2014/main" id="{4140244C-A4A1-495E-B677-F89E2123CD1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7117" r="-1"/>
          <a:stretch/>
        </p:blipFill>
        <p:spPr>
          <a:xfrm>
            <a:off x="2521746" y="1225371"/>
            <a:ext cx="2266525" cy="2256296"/>
          </a:xfrm>
          <a:prstGeom prst="rect">
            <a:avLst/>
          </a:prstGeom>
        </p:spPr>
      </p:pic>
      <p:pic>
        <p:nvPicPr>
          <p:cNvPr id="10" name="Imagen 11">
            <a:extLst>
              <a:ext uri="{FF2B5EF4-FFF2-40B4-BE49-F238E27FC236}">
                <a16:creationId xmlns:a16="http://schemas.microsoft.com/office/drawing/2014/main" id="{CD416560-0251-4989-BBBD-A6E79A9BB0C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3102"/>
          <a:stretch/>
        </p:blipFill>
        <p:spPr>
          <a:xfrm>
            <a:off x="7011034" y="1408956"/>
            <a:ext cx="2001934" cy="202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723765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E6A42D-1C8A-458D-AE14-DEBAF7B79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4A6336-3BFB-41FC-BD3C-4A24DB999E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1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862971-489B-40F5-BC7B-0DE7BA394C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3099483-FDEB-4893-B0F1-A6A0552AE4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Aprendizaje (</a:t>
            </a:r>
            <a:r>
              <a:rPr lang="es-MX" dirty="0" err="1"/>
              <a:t>backpropagation</a:t>
            </a:r>
            <a:r>
              <a:rPr lang="es-MX" dirty="0"/>
              <a:t>)</a:t>
            </a:r>
          </a:p>
        </p:txBody>
      </p:sp>
      <p:pic>
        <p:nvPicPr>
          <p:cNvPr id="7" name="Imagen 5">
            <a:extLst>
              <a:ext uri="{FF2B5EF4-FFF2-40B4-BE49-F238E27FC236}">
                <a16:creationId xmlns:a16="http://schemas.microsoft.com/office/drawing/2014/main" id="{B1470A00-9E9F-4BCB-8622-9304B91F36F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1520" y="1347539"/>
            <a:ext cx="4001668" cy="244842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DBC6527B-4720-4387-B7C3-E296B36F3AE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602"/>
          <a:stretch/>
        </p:blipFill>
        <p:spPr>
          <a:xfrm>
            <a:off x="4574682" y="1226888"/>
            <a:ext cx="4202619" cy="268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66686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00C412-243C-48F2-9EDD-D55C54E123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80621" y="4699697"/>
            <a:ext cx="247656" cy="116869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22</a:t>
            </a:fld>
            <a:endParaRPr lang="en-US" noProof="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0B0784C-B26B-485B-A0D1-A2372E8B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mpañías y su campo </a:t>
            </a:r>
          </a:p>
        </p:txBody>
      </p:sp>
      <p:pic>
        <p:nvPicPr>
          <p:cNvPr id="11" name="Imagen 13">
            <a:extLst>
              <a:ext uri="{FF2B5EF4-FFF2-40B4-BE49-F238E27FC236}">
                <a16:creationId xmlns:a16="http://schemas.microsoft.com/office/drawing/2014/main" id="{578530B2-A804-4432-A929-F7616BE546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5845106" y="2858149"/>
            <a:ext cx="1367628" cy="512096"/>
          </a:xfrm>
          <a:prstGeom prst="rect">
            <a:avLst/>
          </a:prstGeom>
        </p:spPr>
      </p:pic>
      <p:pic>
        <p:nvPicPr>
          <p:cNvPr id="13" name="Imagen 22">
            <a:extLst>
              <a:ext uri="{FF2B5EF4-FFF2-40B4-BE49-F238E27FC236}">
                <a16:creationId xmlns:a16="http://schemas.microsoft.com/office/drawing/2014/main" id="{E2B32D6A-778F-4B46-97F0-38462952D0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004751" y="1893646"/>
            <a:ext cx="1155790" cy="522814"/>
          </a:xfrm>
          <a:prstGeom prst="rect">
            <a:avLst/>
          </a:prstGeom>
        </p:spPr>
      </p:pic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4BFE1D1C-F905-43D6-A586-96DE8178669C}"/>
              </a:ext>
            </a:extLst>
          </p:cNvPr>
          <p:cNvSpPr txBox="1">
            <a:spLocks/>
          </p:cNvSpPr>
          <p:nvPr/>
        </p:nvSpPr>
        <p:spPr>
          <a:xfrm>
            <a:off x="1907408" y="940770"/>
            <a:ext cx="1416926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NLP </a:t>
            </a:r>
          </a:p>
        </p:txBody>
      </p:sp>
      <p:sp>
        <p:nvSpPr>
          <p:cNvPr id="15" name="Marcador de contenido 2">
            <a:extLst>
              <a:ext uri="{FF2B5EF4-FFF2-40B4-BE49-F238E27FC236}">
                <a16:creationId xmlns:a16="http://schemas.microsoft.com/office/drawing/2014/main" id="{F8329B72-89E8-41F9-B84A-425D4C080F9A}"/>
              </a:ext>
            </a:extLst>
          </p:cNvPr>
          <p:cNvSpPr txBox="1">
            <a:spLocks/>
          </p:cNvSpPr>
          <p:nvPr/>
        </p:nvSpPr>
        <p:spPr>
          <a:xfrm>
            <a:off x="1937577" y="1856339"/>
            <a:ext cx="1585204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 err="1"/>
              <a:t>Vision</a:t>
            </a:r>
            <a:r>
              <a:rPr lang="es-MX" dirty="0"/>
              <a:t>, Web </a:t>
            </a:r>
            <a:r>
              <a:rPr lang="es-MX" dirty="0" err="1"/>
              <a:t>Services</a:t>
            </a:r>
            <a:r>
              <a:rPr lang="es-MX" dirty="0"/>
              <a:t> </a:t>
            </a:r>
          </a:p>
        </p:txBody>
      </p:sp>
      <p:sp>
        <p:nvSpPr>
          <p:cNvPr id="16" name="Marcador de contenido 2">
            <a:extLst>
              <a:ext uri="{FF2B5EF4-FFF2-40B4-BE49-F238E27FC236}">
                <a16:creationId xmlns:a16="http://schemas.microsoft.com/office/drawing/2014/main" id="{83659963-1337-435F-949D-5D0BA2317D90}"/>
              </a:ext>
            </a:extLst>
          </p:cNvPr>
          <p:cNvSpPr txBox="1">
            <a:spLocks/>
          </p:cNvSpPr>
          <p:nvPr/>
        </p:nvSpPr>
        <p:spPr>
          <a:xfrm>
            <a:off x="1955961" y="3477393"/>
            <a:ext cx="1836602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 err="1"/>
              <a:t>Face</a:t>
            </a:r>
            <a:r>
              <a:rPr lang="es-MX" dirty="0"/>
              <a:t> </a:t>
            </a:r>
            <a:r>
              <a:rPr lang="es-MX" dirty="0" err="1"/>
              <a:t>Recognition</a:t>
            </a:r>
            <a:endParaRPr lang="es-MX" dirty="0"/>
          </a:p>
        </p:txBody>
      </p:sp>
      <p:sp>
        <p:nvSpPr>
          <p:cNvPr id="17" name="Marcador de contenido 2">
            <a:extLst>
              <a:ext uri="{FF2B5EF4-FFF2-40B4-BE49-F238E27FC236}">
                <a16:creationId xmlns:a16="http://schemas.microsoft.com/office/drawing/2014/main" id="{285CEE97-CD95-42E7-ADE2-7D42EB329E8A}"/>
              </a:ext>
            </a:extLst>
          </p:cNvPr>
          <p:cNvSpPr txBox="1">
            <a:spLocks/>
          </p:cNvSpPr>
          <p:nvPr/>
        </p:nvSpPr>
        <p:spPr>
          <a:xfrm>
            <a:off x="7187522" y="2766723"/>
            <a:ext cx="1604105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Marketing, Web </a:t>
            </a:r>
            <a:r>
              <a:rPr lang="es-MX" dirty="0" err="1"/>
              <a:t>Services</a:t>
            </a:r>
            <a:endParaRPr lang="es-MX" dirty="0"/>
          </a:p>
        </p:txBody>
      </p:sp>
      <p:sp>
        <p:nvSpPr>
          <p:cNvPr id="18" name="Marcador de contenido 2">
            <a:extLst>
              <a:ext uri="{FF2B5EF4-FFF2-40B4-BE49-F238E27FC236}">
                <a16:creationId xmlns:a16="http://schemas.microsoft.com/office/drawing/2014/main" id="{E72BD2BF-4F5A-4B17-8450-8231FCED9B8C}"/>
              </a:ext>
            </a:extLst>
          </p:cNvPr>
          <p:cNvSpPr txBox="1">
            <a:spLocks/>
          </p:cNvSpPr>
          <p:nvPr/>
        </p:nvSpPr>
        <p:spPr>
          <a:xfrm>
            <a:off x="7187522" y="866624"/>
            <a:ext cx="1848973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 err="1"/>
              <a:t>Autonomuos</a:t>
            </a:r>
            <a:r>
              <a:rPr lang="es-MX" dirty="0"/>
              <a:t> </a:t>
            </a:r>
            <a:r>
              <a:rPr lang="es-MX" dirty="0" err="1"/>
              <a:t>driving</a:t>
            </a:r>
            <a:endParaRPr lang="es-MX" dirty="0"/>
          </a:p>
        </p:txBody>
      </p:sp>
      <p:sp>
        <p:nvSpPr>
          <p:cNvPr id="19" name="Marcador de contenido 2">
            <a:extLst>
              <a:ext uri="{FF2B5EF4-FFF2-40B4-BE49-F238E27FC236}">
                <a16:creationId xmlns:a16="http://schemas.microsoft.com/office/drawing/2014/main" id="{0D499F98-9B67-40A4-94E7-0B96B3D85E2D}"/>
              </a:ext>
            </a:extLst>
          </p:cNvPr>
          <p:cNvSpPr txBox="1">
            <a:spLocks/>
          </p:cNvSpPr>
          <p:nvPr/>
        </p:nvSpPr>
        <p:spPr>
          <a:xfrm>
            <a:off x="7233648" y="1763919"/>
            <a:ext cx="1705990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Music </a:t>
            </a:r>
            <a:r>
              <a:rPr lang="es-MX" dirty="0" err="1"/>
              <a:t>Suggestions</a:t>
            </a:r>
            <a:r>
              <a:rPr lang="es-MX" dirty="0"/>
              <a:t> </a:t>
            </a:r>
          </a:p>
        </p:txBody>
      </p:sp>
      <p:sp>
        <p:nvSpPr>
          <p:cNvPr id="21" name="Marcador de contenido 2">
            <a:extLst>
              <a:ext uri="{FF2B5EF4-FFF2-40B4-BE49-F238E27FC236}">
                <a16:creationId xmlns:a16="http://schemas.microsoft.com/office/drawing/2014/main" id="{AFEFB982-4A4F-4879-87BA-F78C37EA7606}"/>
              </a:ext>
            </a:extLst>
          </p:cNvPr>
          <p:cNvSpPr txBox="1">
            <a:spLocks/>
          </p:cNvSpPr>
          <p:nvPr/>
        </p:nvSpPr>
        <p:spPr>
          <a:xfrm>
            <a:off x="1955961" y="2688812"/>
            <a:ext cx="1416926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Apps, Web </a:t>
            </a:r>
            <a:r>
              <a:rPr lang="es-MX" dirty="0" err="1"/>
              <a:t>Services</a:t>
            </a:r>
            <a:endParaRPr lang="es-MX" dirty="0"/>
          </a:p>
        </p:txBody>
      </p:sp>
      <p:sp>
        <p:nvSpPr>
          <p:cNvPr id="23" name="Marcador de contenido 2">
            <a:extLst>
              <a:ext uri="{FF2B5EF4-FFF2-40B4-BE49-F238E27FC236}">
                <a16:creationId xmlns:a16="http://schemas.microsoft.com/office/drawing/2014/main" id="{C6495DB2-323A-4C17-90F5-1A38F55C3B2C}"/>
              </a:ext>
            </a:extLst>
          </p:cNvPr>
          <p:cNvSpPr txBox="1">
            <a:spLocks/>
          </p:cNvSpPr>
          <p:nvPr/>
        </p:nvSpPr>
        <p:spPr>
          <a:xfrm>
            <a:off x="7210585" y="3580303"/>
            <a:ext cx="1752115" cy="676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HW, SW </a:t>
            </a:r>
            <a:r>
              <a:rPr lang="es-MX" dirty="0" err="1"/>
              <a:t>for</a:t>
            </a:r>
            <a:r>
              <a:rPr lang="es-MX" dirty="0"/>
              <a:t> </a:t>
            </a:r>
            <a:r>
              <a:rPr lang="es-MX" dirty="0" err="1"/>
              <a:t>development</a:t>
            </a:r>
            <a:endParaRPr lang="es-MX" dirty="0"/>
          </a:p>
        </p:txBody>
      </p:sp>
      <p:pic>
        <p:nvPicPr>
          <p:cNvPr id="27" name="Imagen 10" descr="Imagen que contiene imágenes prediseñadas&#10;&#10;Descripción generada automáticamente">
            <a:extLst>
              <a:ext uri="{FF2B5EF4-FFF2-40B4-BE49-F238E27FC236}">
                <a16:creationId xmlns:a16="http://schemas.microsoft.com/office/drawing/2014/main" id="{8A5FC5D3-6ED2-4F8A-98CF-2A98BF6D408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352372" y="3465217"/>
            <a:ext cx="1262059" cy="619416"/>
          </a:xfrm>
          <a:prstGeom prst="rect">
            <a:avLst/>
          </a:prstGeom>
        </p:spPr>
      </p:pic>
      <p:pic>
        <p:nvPicPr>
          <p:cNvPr id="28" name="Picture 2" descr="Resultado de imagen para microsoft logo">
            <a:extLst>
              <a:ext uri="{FF2B5EF4-FFF2-40B4-BE49-F238E27FC236}">
                <a16:creationId xmlns:a16="http://schemas.microsoft.com/office/drawing/2014/main" id="{8C800ACA-A21F-4F28-BC72-4DF8AA2F35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72" r="909" b="33225"/>
          <a:stretch/>
        </p:blipFill>
        <p:spPr bwMode="auto">
          <a:xfrm>
            <a:off x="352372" y="2766723"/>
            <a:ext cx="1585205" cy="405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Imagen 17">
            <a:extLst>
              <a:ext uri="{FF2B5EF4-FFF2-40B4-BE49-F238E27FC236}">
                <a16:creationId xmlns:a16="http://schemas.microsoft.com/office/drawing/2014/main" id="{D14C1C97-84F5-472F-9001-96FA26A7823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0"/>
              </a:ext>
            </a:extLst>
          </a:blip>
          <a:stretch>
            <a:fillRect/>
          </a:stretch>
        </p:blipFill>
        <p:spPr>
          <a:xfrm>
            <a:off x="5631713" y="3534360"/>
            <a:ext cx="1587993" cy="558279"/>
          </a:xfrm>
          <a:prstGeom prst="rect">
            <a:avLst/>
          </a:prstGeom>
        </p:spPr>
      </p:pic>
      <p:pic>
        <p:nvPicPr>
          <p:cNvPr id="30" name="Marcador de contenido 4" descr="Imagen que contiene edificio&#10;&#10;Descripción generada automáticamente">
            <a:extLst>
              <a:ext uri="{FF2B5EF4-FFF2-40B4-BE49-F238E27FC236}">
                <a16:creationId xmlns:a16="http://schemas.microsoft.com/office/drawing/2014/main" id="{602E8CC8-0F03-454D-A21B-A95BE6E645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2"/>
              </a:ext>
            </a:extLst>
          </a:blip>
          <a:stretch>
            <a:fillRect/>
          </a:stretch>
        </p:blipFill>
        <p:spPr>
          <a:xfrm>
            <a:off x="502487" y="1069122"/>
            <a:ext cx="961830" cy="384732"/>
          </a:xfrm>
          <a:prstGeom prst="rect">
            <a:avLst/>
          </a:prstGeom>
        </p:spPr>
      </p:pic>
      <p:pic>
        <p:nvPicPr>
          <p:cNvPr id="31" name="Imagen 7">
            <a:extLst>
              <a:ext uri="{FF2B5EF4-FFF2-40B4-BE49-F238E27FC236}">
                <a16:creationId xmlns:a16="http://schemas.microsoft.com/office/drawing/2014/main" id="{C64521F4-F070-40EB-ACC2-91BB9315EAE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4"/>
              </a:ext>
            </a:extLst>
          </a:blip>
          <a:stretch>
            <a:fillRect/>
          </a:stretch>
        </p:blipFill>
        <p:spPr>
          <a:xfrm>
            <a:off x="204362" y="1845482"/>
            <a:ext cx="1585204" cy="660501"/>
          </a:xfrm>
          <a:prstGeom prst="rect">
            <a:avLst/>
          </a:prstGeom>
        </p:spPr>
      </p:pic>
      <p:pic>
        <p:nvPicPr>
          <p:cNvPr id="32" name="Imagen 19" descr="Imagen que contiene objeto&#10;&#10;Descripción generada automáticamente">
            <a:extLst>
              <a:ext uri="{FF2B5EF4-FFF2-40B4-BE49-F238E27FC236}">
                <a16:creationId xmlns:a16="http://schemas.microsoft.com/office/drawing/2014/main" id="{6A18DA50-FA59-42D7-B34D-7ECA1203136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6"/>
              </a:ext>
            </a:extLst>
          </a:blip>
          <a:stretch>
            <a:fillRect/>
          </a:stretch>
        </p:blipFill>
        <p:spPr>
          <a:xfrm>
            <a:off x="6366193" y="914853"/>
            <a:ext cx="564423" cy="72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617181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3686F3D-F099-4946-A337-18ABCD8662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29555" y="1022075"/>
            <a:ext cx="1951904" cy="2808287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EE01B2-D48D-49A2-B188-46AA30994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CB5BD-A50C-4113-9D5D-AAE90C9191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3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8D99F4-487C-43F3-9EA6-E95C6F11296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9AB364-2F39-4F0D-88D6-08303DE4E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A en Continental Automotiv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A7E948-2EC2-4846-854C-230D744DED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9089" y="1020266"/>
            <a:ext cx="1951904" cy="28100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A7BE4C-193A-4AC7-8EBA-103F8CC2B0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5928" y="1020265"/>
            <a:ext cx="1954819" cy="281676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7D251ED-8E1F-4134-A23F-9C9C88C6D1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0232" y="1023938"/>
            <a:ext cx="1954819" cy="280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508634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797321-AC03-4CA5-9BA3-7745BA8A71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77BA7D-5D03-4BD6-B255-0D270E73CB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4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F61D68-F0AA-44D1-A25E-FC0F5F7877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4F802687-8A9E-491B-BB04-F8331ED35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03213"/>
            <a:ext cx="5954712" cy="720725"/>
          </a:xfrm>
        </p:spPr>
        <p:txBody>
          <a:bodyPr/>
          <a:lstStyle/>
          <a:p>
            <a:r>
              <a:rPr lang="es-MX" dirty="0"/>
              <a:t>Preparación de ambiente práctica</a:t>
            </a:r>
          </a:p>
        </p:txBody>
      </p:sp>
      <p:pic>
        <p:nvPicPr>
          <p:cNvPr id="8" name="Picture 2" descr="Resultado de imagen para python">
            <a:extLst>
              <a:ext uri="{FF2B5EF4-FFF2-40B4-BE49-F238E27FC236}">
                <a16:creationId xmlns:a16="http://schemas.microsoft.com/office/drawing/2014/main" id="{C1AD7951-8F03-4AD2-9928-682E34CD33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4683" y="3592039"/>
            <a:ext cx="1605706" cy="542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ángulo 3">
            <a:extLst>
              <a:ext uri="{FF2B5EF4-FFF2-40B4-BE49-F238E27FC236}">
                <a16:creationId xmlns:a16="http://schemas.microsoft.com/office/drawing/2014/main" id="{191D2CB9-ED1D-4B95-921C-1F8DB12F827E}"/>
              </a:ext>
            </a:extLst>
          </p:cNvPr>
          <p:cNvSpPr/>
          <p:nvPr/>
        </p:nvSpPr>
        <p:spPr>
          <a:xfrm>
            <a:off x="4571999" y="3637058"/>
            <a:ext cx="12355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dirty="0"/>
              <a:t>Nivel 1</a:t>
            </a:r>
          </a:p>
        </p:txBody>
      </p:sp>
      <p:sp>
        <p:nvSpPr>
          <p:cNvPr id="10" name="Rectángulo 5">
            <a:extLst>
              <a:ext uri="{FF2B5EF4-FFF2-40B4-BE49-F238E27FC236}">
                <a16:creationId xmlns:a16="http://schemas.microsoft.com/office/drawing/2014/main" id="{9CCF7A5E-3FC9-45F5-BEDD-96E340847675}"/>
              </a:ext>
            </a:extLst>
          </p:cNvPr>
          <p:cNvSpPr/>
          <p:nvPr/>
        </p:nvSpPr>
        <p:spPr>
          <a:xfrm>
            <a:off x="4569182" y="2882386"/>
            <a:ext cx="12355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dirty="0"/>
              <a:t>Nivel 2</a:t>
            </a:r>
          </a:p>
        </p:txBody>
      </p:sp>
      <p:pic>
        <p:nvPicPr>
          <p:cNvPr id="11" name="Imagen 4">
            <a:extLst>
              <a:ext uri="{FF2B5EF4-FFF2-40B4-BE49-F238E27FC236}">
                <a16:creationId xmlns:a16="http://schemas.microsoft.com/office/drawing/2014/main" id="{AA71CD56-0E63-4E4E-9FDC-C610723DB8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5625" y="2726391"/>
            <a:ext cx="1106630" cy="681321"/>
          </a:xfrm>
          <a:prstGeom prst="rect">
            <a:avLst/>
          </a:prstGeom>
        </p:spPr>
      </p:pic>
      <p:pic>
        <p:nvPicPr>
          <p:cNvPr id="12" name="Picture 4" descr="Resultado de imagen para keras">
            <a:extLst>
              <a:ext uri="{FF2B5EF4-FFF2-40B4-BE49-F238E27FC236}">
                <a16:creationId xmlns:a16="http://schemas.microsoft.com/office/drawing/2014/main" id="{2DF0E719-E9CF-42F7-B453-D31E906B3C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3501" y="2118930"/>
            <a:ext cx="1188070" cy="373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ángulo 8">
            <a:extLst>
              <a:ext uri="{FF2B5EF4-FFF2-40B4-BE49-F238E27FC236}">
                <a16:creationId xmlns:a16="http://schemas.microsoft.com/office/drawing/2014/main" id="{D3BA4B5E-29A7-4381-95F2-E834E012A594}"/>
              </a:ext>
            </a:extLst>
          </p:cNvPr>
          <p:cNvSpPr/>
          <p:nvPr/>
        </p:nvSpPr>
        <p:spPr>
          <a:xfrm>
            <a:off x="4572000" y="2127715"/>
            <a:ext cx="12355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dirty="0"/>
              <a:t>Nivel 3</a:t>
            </a:r>
          </a:p>
        </p:txBody>
      </p:sp>
      <p:sp>
        <p:nvSpPr>
          <p:cNvPr id="14" name="Rectángulo 9">
            <a:extLst>
              <a:ext uri="{FF2B5EF4-FFF2-40B4-BE49-F238E27FC236}">
                <a16:creationId xmlns:a16="http://schemas.microsoft.com/office/drawing/2014/main" id="{00FD2122-8910-44A9-B3BC-7F8DAF47B551}"/>
              </a:ext>
            </a:extLst>
          </p:cNvPr>
          <p:cNvSpPr/>
          <p:nvPr/>
        </p:nvSpPr>
        <p:spPr>
          <a:xfrm>
            <a:off x="4572000" y="1343857"/>
            <a:ext cx="12355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dirty="0"/>
              <a:t>Nivel 4</a:t>
            </a:r>
          </a:p>
        </p:txBody>
      </p:sp>
      <p:pic>
        <p:nvPicPr>
          <p:cNvPr id="15" name="Picture 8" descr="Resultado de imagen para google cloud logo">
            <a:extLst>
              <a:ext uri="{FF2B5EF4-FFF2-40B4-BE49-F238E27FC236}">
                <a16:creationId xmlns:a16="http://schemas.microsoft.com/office/drawing/2014/main" id="{B7D8AEA0-95BE-464F-813A-65A9CE330A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300" y="1197808"/>
            <a:ext cx="1188070" cy="18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 descr="Resultado de imagen para microsoft azure logo">
            <a:extLst>
              <a:ext uri="{FF2B5EF4-FFF2-40B4-BE49-F238E27FC236}">
                <a16:creationId xmlns:a16="http://schemas.microsoft.com/office/drawing/2014/main" id="{9770C375-F255-4C9A-8508-8B66F802DC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57" b="28813"/>
          <a:stretch/>
        </p:blipFill>
        <p:spPr bwMode="auto">
          <a:xfrm>
            <a:off x="5807501" y="1474211"/>
            <a:ext cx="1443317" cy="308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Marcador de contenido 2">
            <a:extLst>
              <a:ext uri="{FF2B5EF4-FFF2-40B4-BE49-F238E27FC236}">
                <a16:creationId xmlns:a16="http://schemas.microsoft.com/office/drawing/2014/main" id="{33AE21F4-7B0A-43DF-985F-EF8321C66D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016" y="1322976"/>
            <a:ext cx="4427760" cy="2015043"/>
          </a:xfrm>
        </p:spPr>
        <p:txBody>
          <a:bodyPr/>
          <a:lstStyle/>
          <a:p>
            <a:r>
              <a:rPr lang="es-MX" dirty="0"/>
              <a:t>Práctica 1: </a:t>
            </a:r>
          </a:p>
          <a:p>
            <a:pPr lvl="1"/>
            <a:r>
              <a:rPr lang="es-MX" dirty="0"/>
              <a:t>Clasificación de números escritos a mano</a:t>
            </a:r>
          </a:p>
          <a:p>
            <a:r>
              <a:rPr lang="es-MX" dirty="0"/>
              <a:t>Práctica 2:</a:t>
            </a:r>
          </a:p>
          <a:p>
            <a:pPr lvl="1"/>
            <a:r>
              <a:rPr lang="es-MX" dirty="0"/>
              <a:t>Clasificación de unidades con </a:t>
            </a:r>
          </a:p>
        </p:txBody>
      </p:sp>
      <p:sp>
        <p:nvSpPr>
          <p:cNvPr id="18" name="Rectángulo 7">
            <a:extLst>
              <a:ext uri="{FF2B5EF4-FFF2-40B4-BE49-F238E27FC236}">
                <a16:creationId xmlns:a16="http://schemas.microsoft.com/office/drawing/2014/main" id="{71B7EB21-2DC5-4C65-8128-43C9BBE6FDA4}"/>
              </a:ext>
            </a:extLst>
          </p:cNvPr>
          <p:cNvSpPr/>
          <p:nvPr/>
        </p:nvSpPr>
        <p:spPr>
          <a:xfrm>
            <a:off x="395288" y="3678553"/>
            <a:ext cx="23310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dirty="0"/>
              <a:t>(Uso de tarjeta gráfica)</a:t>
            </a:r>
          </a:p>
        </p:txBody>
      </p:sp>
    </p:spTree>
    <p:extLst>
      <p:ext uri="{BB962C8B-B14F-4D97-AF65-F5344CB8AC3E}">
        <p14:creationId xmlns:p14="http://schemas.microsoft.com/office/powerpoint/2010/main" val="2556389879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3B269A-696C-4B80-B9FE-C4E5194478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33AD3D-DA9F-4448-9148-DF257A5A15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5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BC76E5-1DEF-4ECC-98C1-C1C5744748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275C56-7972-4B8C-A8C5-2027731F2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3200" dirty="0"/>
              <a:t>Instalación </a:t>
            </a:r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4FDD2770-7CFF-493E-B5BB-4C79305521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1347788"/>
            <a:ext cx="8353425" cy="2808287"/>
          </a:xfrm>
        </p:spPr>
        <p:txBody>
          <a:bodyPr>
            <a:normAutofit fontScale="77500" lnSpcReduction="20000"/>
          </a:bodyPr>
          <a:lstStyle/>
          <a:p>
            <a:r>
              <a:rPr lang="es-MX" dirty="0"/>
              <a:t>Instalación Anaconda / </a:t>
            </a:r>
            <a:r>
              <a:rPr lang="es-MX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</a:t>
            </a:r>
            <a:r>
              <a:rPr lang="es-MX" dirty="0"/>
              <a:t>indows / Python 3.7 64Bits</a:t>
            </a:r>
            <a:endParaRPr lang="es-MX" dirty="0"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s-MX" dirty="0">
                <a:hlinkClick r:id="rId2"/>
              </a:rPr>
              <a:t>https://www.anaconda.com/distribution/</a:t>
            </a:r>
            <a:endParaRPr lang="es-MX" dirty="0"/>
          </a:p>
          <a:p>
            <a:r>
              <a:rPr lang="es-MX" dirty="0"/>
              <a:t>https://repo.anaconda.com/archive/Anaconda3-2019.03-Windows-x86_64.exe</a:t>
            </a:r>
          </a:p>
          <a:p>
            <a:pPr lvl="1"/>
            <a:r>
              <a:rPr lang="es-MX" dirty="0"/>
              <a:t>Abrir Anaconda </a:t>
            </a:r>
            <a:r>
              <a:rPr lang="es-MX" dirty="0" err="1"/>
              <a:t>Prompt</a:t>
            </a:r>
            <a:endParaRPr lang="es-MX" dirty="0"/>
          </a:p>
          <a:p>
            <a:pPr lvl="2"/>
            <a:r>
              <a:rPr lang="es-MX" dirty="0"/>
              <a:t>Escribir </a:t>
            </a:r>
            <a:r>
              <a:rPr lang="es-MX" dirty="0" err="1"/>
              <a:t>pip</a:t>
            </a:r>
            <a:r>
              <a:rPr lang="es-MX" dirty="0"/>
              <a:t> </a:t>
            </a:r>
            <a:r>
              <a:rPr lang="es-MX" dirty="0" err="1"/>
              <a:t>install</a:t>
            </a:r>
            <a:r>
              <a:rPr lang="es-MX" dirty="0"/>
              <a:t> </a:t>
            </a:r>
            <a:r>
              <a:rPr lang="es-MX" dirty="0" err="1"/>
              <a:t>tensorflow</a:t>
            </a:r>
            <a:endParaRPr lang="es-MX" dirty="0"/>
          </a:p>
          <a:p>
            <a:pPr lvl="2"/>
            <a:r>
              <a:rPr lang="es-MX" dirty="0" err="1"/>
              <a:t>pip</a:t>
            </a:r>
            <a:r>
              <a:rPr lang="es-MX" dirty="0"/>
              <a:t> </a:t>
            </a:r>
            <a:r>
              <a:rPr lang="es-MX" dirty="0" err="1"/>
              <a:t>install</a:t>
            </a:r>
            <a:r>
              <a:rPr lang="es-MX" dirty="0"/>
              <a:t> </a:t>
            </a:r>
            <a:r>
              <a:rPr lang="es-MX" dirty="0" err="1"/>
              <a:t>tqdm</a:t>
            </a:r>
            <a:endParaRPr lang="es-MX" dirty="0"/>
          </a:p>
          <a:p>
            <a:pPr lvl="2"/>
            <a:r>
              <a:rPr lang="es-MX" dirty="0" err="1"/>
              <a:t>Pip</a:t>
            </a:r>
            <a:r>
              <a:rPr lang="es-MX" dirty="0"/>
              <a:t> </a:t>
            </a:r>
            <a:r>
              <a:rPr lang="es-MX" dirty="0" err="1"/>
              <a:t>install</a:t>
            </a:r>
            <a:r>
              <a:rPr lang="es-MX" dirty="0"/>
              <a:t> </a:t>
            </a:r>
            <a:r>
              <a:rPr lang="es-MX" dirty="0" err="1"/>
              <a:t>opencv</a:t>
            </a:r>
            <a:r>
              <a:rPr lang="es-MX" dirty="0"/>
              <a:t>-Python</a:t>
            </a:r>
          </a:p>
          <a:p>
            <a:r>
              <a:rPr lang="es-MX" dirty="0">
                <a:hlinkClick r:id="rId3"/>
              </a:rPr>
              <a:t>https://github.com/DavidUrz/AiContinental</a:t>
            </a:r>
            <a:endParaRPr lang="es-MX" dirty="0"/>
          </a:p>
          <a:p>
            <a:pPr lvl="1"/>
            <a:r>
              <a:rPr lang="es-MX" dirty="0"/>
              <a:t>Descargar repositorio y descomprimir en Desktop:</a:t>
            </a:r>
          </a:p>
          <a:p>
            <a:pPr lvl="2"/>
            <a:endParaRPr lang="es-MX" dirty="0"/>
          </a:p>
          <a:p>
            <a:pPr lvl="2"/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033542156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1A122F5-3C82-453A-B8F1-BC08C1F61F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3F746-C5CE-4B77-88AC-A71565BB38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6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DE2E2D-D41A-49D3-810D-4A150683BB6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2927E1-D43E-4B7C-AD5A-9404F08F2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478700"/>
            <a:ext cx="5955196" cy="545238"/>
          </a:xfrm>
        </p:spPr>
        <p:txBody>
          <a:bodyPr/>
          <a:lstStyle/>
          <a:p>
            <a:r>
              <a:rPr lang="es-MX" dirty="0"/>
              <a:t>Referencias 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DB250A57-2642-4104-9B07-4CE103483DAB}"/>
              </a:ext>
            </a:extLst>
          </p:cNvPr>
          <p:cNvSpPr txBox="1">
            <a:spLocks/>
          </p:cNvSpPr>
          <p:nvPr/>
        </p:nvSpPr>
        <p:spPr>
          <a:xfrm>
            <a:off x="179512" y="874152"/>
            <a:ext cx="10165519" cy="3395196"/>
          </a:xfrm>
          <a:prstGeom prst="rect">
            <a:avLst/>
          </a:prstGeom>
        </p:spPr>
        <p:txBody>
          <a:bodyPr vert="horz" lIns="0" tIns="18000" rIns="0" bIns="18000" rtlCol="0">
            <a:normAutofit fontScale="62500" lnSpcReduction="20000"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95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32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800" dirty="0"/>
              <a:t>Libros: </a:t>
            </a:r>
          </a:p>
          <a:p>
            <a:pPr lvl="1"/>
            <a:r>
              <a:rPr lang="es-MX" sz="2800" dirty="0" err="1"/>
              <a:t>Make</a:t>
            </a:r>
            <a:r>
              <a:rPr lang="es-MX" sz="2800" dirty="0"/>
              <a:t> </a:t>
            </a:r>
            <a:r>
              <a:rPr lang="es-MX" sz="2800" dirty="0" err="1"/>
              <a:t>your</a:t>
            </a:r>
            <a:r>
              <a:rPr lang="es-MX" sz="2800" dirty="0"/>
              <a:t> </a:t>
            </a:r>
            <a:r>
              <a:rPr lang="es-MX" sz="2800" dirty="0" err="1"/>
              <a:t>own</a:t>
            </a:r>
            <a:r>
              <a:rPr lang="es-MX" sz="2800" dirty="0"/>
              <a:t> Neural Network – Tariq Rashid</a:t>
            </a:r>
          </a:p>
          <a:p>
            <a:pPr lvl="1"/>
            <a:r>
              <a:rPr lang="es-MX" sz="2800" dirty="0"/>
              <a:t>Deep </a:t>
            </a:r>
            <a:r>
              <a:rPr lang="es-MX" sz="2800" dirty="0" err="1"/>
              <a:t>Learning</a:t>
            </a:r>
            <a:r>
              <a:rPr lang="es-MX" sz="2800" dirty="0"/>
              <a:t> </a:t>
            </a:r>
            <a:r>
              <a:rPr lang="es-MX" sz="2800" dirty="0" err="1"/>
              <a:t>Cookbook</a:t>
            </a:r>
            <a:r>
              <a:rPr lang="es-MX" sz="2800" dirty="0"/>
              <a:t> – </a:t>
            </a:r>
            <a:r>
              <a:rPr lang="es-MX" sz="2800" dirty="0" err="1"/>
              <a:t>Douwe</a:t>
            </a:r>
            <a:r>
              <a:rPr lang="es-MX" sz="2800" dirty="0"/>
              <a:t> </a:t>
            </a:r>
            <a:r>
              <a:rPr lang="es-MX" sz="2800" dirty="0" err="1"/>
              <a:t>Osinga</a:t>
            </a:r>
            <a:endParaRPr lang="es-MX" sz="2800" dirty="0"/>
          </a:p>
          <a:p>
            <a:pPr lvl="1"/>
            <a:r>
              <a:rPr lang="es-MX" sz="2800" dirty="0" err="1"/>
              <a:t>Hands-On</a:t>
            </a:r>
            <a:r>
              <a:rPr lang="es-MX" sz="2800" dirty="0"/>
              <a:t> Machine </a:t>
            </a:r>
            <a:r>
              <a:rPr lang="es-MX" sz="2800" dirty="0" err="1"/>
              <a:t>Learning</a:t>
            </a:r>
            <a:r>
              <a:rPr lang="es-MX" sz="2800" dirty="0"/>
              <a:t> </a:t>
            </a:r>
            <a:r>
              <a:rPr lang="es-MX" sz="2800" dirty="0" err="1"/>
              <a:t>with</a:t>
            </a:r>
            <a:r>
              <a:rPr lang="es-MX" sz="2800" dirty="0"/>
              <a:t> </a:t>
            </a:r>
            <a:r>
              <a:rPr lang="es-MX" sz="2800" dirty="0" err="1"/>
              <a:t>Scikit-Learn</a:t>
            </a:r>
            <a:r>
              <a:rPr lang="es-MX" sz="2800" dirty="0"/>
              <a:t> &amp; </a:t>
            </a:r>
            <a:r>
              <a:rPr lang="es-MX" sz="2800" dirty="0" err="1"/>
              <a:t>TensorFlow</a:t>
            </a:r>
            <a:endParaRPr lang="es-MX" sz="2800" dirty="0"/>
          </a:p>
          <a:p>
            <a:pPr lvl="1"/>
            <a:r>
              <a:rPr lang="es-MX" sz="2800" dirty="0"/>
              <a:t>LIFE 3.0 </a:t>
            </a:r>
            <a:r>
              <a:rPr lang="es-MX" sz="2800" dirty="0" err="1"/>
              <a:t>Being</a:t>
            </a:r>
            <a:r>
              <a:rPr lang="es-MX" sz="2800" dirty="0"/>
              <a:t> A Human in </a:t>
            </a:r>
            <a:r>
              <a:rPr lang="es-MX" sz="2800" dirty="0" err="1"/>
              <a:t>The</a:t>
            </a:r>
            <a:r>
              <a:rPr lang="es-MX" sz="2800" dirty="0"/>
              <a:t> Age </a:t>
            </a:r>
            <a:r>
              <a:rPr lang="es-MX" sz="2800" dirty="0" err="1"/>
              <a:t>of</a:t>
            </a:r>
            <a:r>
              <a:rPr lang="es-MX" sz="2800" dirty="0"/>
              <a:t> AI – Max Tegmark</a:t>
            </a:r>
          </a:p>
          <a:p>
            <a:r>
              <a:rPr lang="es-MX" sz="2800" dirty="0"/>
              <a:t>Web:</a:t>
            </a:r>
          </a:p>
          <a:p>
            <a:pPr lvl="1"/>
            <a:r>
              <a:rPr lang="es-MX" sz="2800" dirty="0" err="1"/>
              <a:t>TensorFlow</a:t>
            </a:r>
            <a:endParaRPr lang="es-MX" sz="2800" dirty="0"/>
          </a:p>
          <a:p>
            <a:pPr lvl="1"/>
            <a:r>
              <a:rPr lang="es-MX" sz="2800" dirty="0"/>
              <a:t>Google Cloud</a:t>
            </a:r>
          </a:p>
          <a:p>
            <a:pPr lvl="1"/>
            <a:r>
              <a:rPr lang="es-MX" sz="2800" dirty="0"/>
              <a:t>Microsoft Azu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F75E51-5E12-4D9C-93AA-C09E6E385170}"/>
              </a:ext>
            </a:extLst>
          </p:cNvPr>
          <p:cNvSpPr/>
          <p:nvPr/>
        </p:nvSpPr>
        <p:spPr>
          <a:xfrm>
            <a:off x="3995664" y="2787774"/>
            <a:ext cx="37446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 err="1"/>
              <a:t>Youtube</a:t>
            </a:r>
            <a:r>
              <a:rPr lang="es-MX" dirty="0"/>
              <a:t>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MX" dirty="0" err="1"/>
              <a:t>Siraj</a:t>
            </a:r>
            <a:r>
              <a:rPr lang="es-MX" dirty="0"/>
              <a:t> Rav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MX" dirty="0" err="1"/>
              <a:t>Sentdex</a:t>
            </a:r>
            <a:endParaRPr lang="es-MX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MX" dirty="0"/>
              <a:t>Gilbert</a:t>
            </a:r>
            <a:r>
              <a:rPr lang="es-MX" sz="1200" dirty="0"/>
              <a:t> </a:t>
            </a:r>
            <a:r>
              <a:rPr lang="es-MX" dirty="0" err="1"/>
              <a:t>Tanner</a:t>
            </a:r>
            <a:br>
              <a:rPr lang="es-MX" sz="1200" dirty="0"/>
            </a:br>
            <a:r>
              <a:rPr lang="es-MX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3301065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77B0923-2210-4F63-8F51-951E6D0FFD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2427734"/>
            <a:ext cx="8353426" cy="1728342"/>
          </a:xfrm>
        </p:spPr>
        <p:txBody>
          <a:bodyPr/>
          <a:lstStyle/>
          <a:p>
            <a:r>
              <a:rPr lang="es-MX" sz="2400" dirty="0">
                <a:hlinkClick r:id="rId2"/>
              </a:rPr>
              <a:t>https://www.menti.com/</a:t>
            </a:r>
            <a:endParaRPr lang="es-MX" sz="2400" dirty="0"/>
          </a:p>
          <a:p>
            <a:r>
              <a:rPr lang="es-MX" sz="2400" dirty="0"/>
              <a:t>Código: </a:t>
            </a:r>
            <a:r>
              <a:rPr lang="es-MX" sz="2800" b="1" dirty="0">
                <a:solidFill>
                  <a:srgbClr val="0070C0"/>
                </a:solidFill>
              </a:rPr>
              <a:t>28 18 58</a:t>
            </a:r>
            <a:endParaRPr lang="es-MX" sz="2400" b="1" dirty="0">
              <a:solidFill>
                <a:srgbClr val="0070C0"/>
              </a:solidFill>
            </a:endParaRPr>
          </a:p>
          <a:p>
            <a:endParaRPr lang="es-MX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E6F2B2-8F07-4B99-BCE0-E7480CE19A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40915F-C642-44C4-AB47-8B98E20AA1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7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871DEE-007C-4639-BD9E-C590E8D973F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4EE369A-7644-4B24-AF5F-A22586175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3600" dirty="0"/>
              <a:t>Gracias!!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9A486DB6-5A00-4281-AF91-282A44C51E17}"/>
              </a:ext>
            </a:extLst>
          </p:cNvPr>
          <p:cNvSpPr txBox="1">
            <a:spLocks/>
          </p:cNvSpPr>
          <p:nvPr/>
        </p:nvSpPr>
        <p:spPr>
          <a:xfrm>
            <a:off x="395285" y="1663920"/>
            <a:ext cx="11029616" cy="1188720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>
            <a:lvl1pPr algn="l" defTabSz="914411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s-MX" dirty="0"/>
              <a:t>Ayúdame con tu opinión</a:t>
            </a:r>
          </a:p>
        </p:txBody>
      </p:sp>
    </p:spTree>
    <p:extLst>
      <p:ext uri="{BB962C8B-B14F-4D97-AF65-F5344CB8AC3E}">
        <p14:creationId xmlns:p14="http://schemas.microsoft.com/office/powerpoint/2010/main" val="319624463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8</a:t>
            </a:fld>
            <a:endParaRPr lang="en-US" noProof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95291" y="1229746"/>
            <a:ext cx="2709396" cy="10625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100"/>
            </a:lvl1pPr>
          </a:lstStyle>
          <a:p>
            <a:r>
              <a:rPr lang="en-US" altLang="x-none" sz="1051" dirty="0">
                <a:solidFill>
                  <a:srgbClr val="000000"/>
                </a:solidFill>
              </a:rPr>
              <a:t>David Urzua</a:t>
            </a:r>
          </a:p>
          <a:p>
            <a:r>
              <a:rPr lang="en-US" sz="1051" dirty="0">
                <a:solidFill>
                  <a:srgbClr val="000000"/>
                </a:solidFill>
              </a:rPr>
              <a:t>Functional and Vision Test Engineer</a:t>
            </a:r>
          </a:p>
          <a:p>
            <a:r>
              <a:rPr lang="en-US" sz="1051" dirty="0">
                <a:solidFill>
                  <a:srgbClr val="000000"/>
                </a:solidFill>
              </a:rPr>
              <a:t>CEP GDA</a:t>
            </a:r>
          </a:p>
          <a:p>
            <a:r>
              <a:rPr lang="en-US" sz="1051" dirty="0">
                <a:solidFill>
                  <a:srgbClr val="000000"/>
                </a:solidFill>
              </a:rPr>
              <a:t>Technical Center GDL-T</a:t>
            </a:r>
          </a:p>
          <a:p>
            <a:r>
              <a:rPr lang="en-US" sz="1051" dirty="0">
                <a:solidFill>
                  <a:srgbClr val="000000"/>
                </a:solidFill>
              </a:rPr>
              <a:t>+52 33 3818 2000 x.6838</a:t>
            </a:r>
          </a:p>
          <a:p>
            <a:r>
              <a:rPr lang="en-US" sz="1051" dirty="0">
                <a:solidFill>
                  <a:srgbClr val="000000"/>
                </a:solidFill>
                <a:hlinkClick r:id="rId2"/>
              </a:rPr>
              <a:t>david.urzua@continental-corporation.com</a:t>
            </a:r>
            <a:endParaRPr lang="en-US" sz="1051" dirty="0">
              <a:solidFill>
                <a:srgbClr val="000000"/>
              </a:solidFill>
            </a:endParaRP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1D99BC85-993D-407D-B1EA-DEAA428040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44009" y="1608268"/>
            <a:ext cx="3919303" cy="13681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554CDA6-9DE5-4F12-BCFD-C1D4D814B7B4}"/>
              </a:ext>
            </a:extLst>
          </p:cNvPr>
          <p:cNvSpPr txBox="1">
            <a:spLocks/>
          </p:cNvSpPr>
          <p:nvPr/>
        </p:nvSpPr>
        <p:spPr>
          <a:xfrm>
            <a:off x="395291" y="2571750"/>
            <a:ext cx="3542958" cy="10625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100"/>
            </a:lvl1pPr>
          </a:lstStyle>
          <a:p>
            <a:r>
              <a:rPr lang="en-US" altLang="x-none" sz="1051" dirty="0">
                <a:solidFill>
                  <a:srgbClr val="000000"/>
                </a:solidFill>
              </a:rPr>
              <a:t>Raymundo Inda Meza</a:t>
            </a:r>
          </a:p>
          <a:p>
            <a:r>
              <a:rPr lang="en-US" sz="1051" dirty="0">
                <a:solidFill>
                  <a:srgbClr val="000000"/>
                </a:solidFill>
              </a:rPr>
              <a:t>Senior Expert Camera Inspection Systems and Methods</a:t>
            </a:r>
          </a:p>
          <a:p>
            <a:r>
              <a:rPr lang="en-US" sz="1051" dirty="0">
                <a:solidFill>
                  <a:srgbClr val="000000"/>
                </a:solidFill>
              </a:rPr>
              <a:t>CEP GDA</a:t>
            </a:r>
          </a:p>
          <a:p>
            <a:r>
              <a:rPr lang="en-US" sz="1051" dirty="0">
                <a:solidFill>
                  <a:srgbClr val="000000"/>
                </a:solidFill>
              </a:rPr>
              <a:t>Technical Center GDL-T</a:t>
            </a:r>
          </a:p>
          <a:p>
            <a:r>
              <a:rPr lang="en-US" sz="1051" dirty="0">
                <a:solidFill>
                  <a:srgbClr val="000000"/>
                </a:solidFill>
              </a:rPr>
              <a:t>+52 33 3050 6257</a:t>
            </a:r>
          </a:p>
          <a:p>
            <a:r>
              <a:rPr lang="en-US" sz="1051" dirty="0">
                <a:solidFill>
                  <a:srgbClr val="000000"/>
                </a:solidFill>
                <a:hlinkClick r:id="rId2"/>
              </a:rPr>
              <a:t>raymundo.inda-meza@continental-corporation.com</a:t>
            </a:r>
            <a:endParaRPr lang="en-US" sz="105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18087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5288" y="303211"/>
            <a:ext cx="6841007" cy="396331"/>
          </a:xfrm>
        </p:spPr>
        <p:txBody>
          <a:bodyPr/>
          <a:lstStyle/>
          <a:p>
            <a:r>
              <a:rPr lang="es-MX" dirty="0"/>
              <a:t>INTRODUCCION A LA FABRICA INTELIGEN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93F200-176D-4D26-A11C-DA19C6327032}"/>
              </a:ext>
            </a:extLst>
          </p:cNvPr>
          <p:cNvSpPr txBox="1"/>
          <p:nvPr/>
        </p:nvSpPr>
        <p:spPr>
          <a:xfrm>
            <a:off x="395289" y="843558"/>
            <a:ext cx="4968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/>
              <a:t>Una fábrica inteligente es aquella que trabaja con un enfoque global, utilizando procesos flexibles, interconectada en tiempo real. Capaz de adaptarse de manera rápida y eficaz a las demandas de un mercado globalizado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F1EAFF8-233E-482D-BAC7-68F0C71B3F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0112" y="843558"/>
            <a:ext cx="3012618" cy="3310836"/>
          </a:xfrm>
          <a:prstGeom prst="rect">
            <a:avLst/>
          </a:prstGeom>
          <a:ln w="952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E75A3BF-09DF-426E-AB8D-569E9A25BB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680" y="1647779"/>
            <a:ext cx="3012618" cy="2518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64960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5288" y="303211"/>
            <a:ext cx="6841007" cy="396331"/>
          </a:xfrm>
        </p:spPr>
        <p:txBody>
          <a:bodyPr/>
          <a:lstStyle/>
          <a:p>
            <a:r>
              <a:rPr lang="es-MX" dirty="0"/>
              <a:t>INTRODUCCION A LA FABRICA INTELIGEN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93F200-176D-4D26-A11C-DA19C6327032}"/>
              </a:ext>
            </a:extLst>
          </p:cNvPr>
          <p:cNvSpPr txBox="1"/>
          <p:nvPr/>
        </p:nvSpPr>
        <p:spPr>
          <a:xfrm>
            <a:off x="764453" y="982057"/>
            <a:ext cx="21513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b="1" dirty="0"/>
              <a:t>Tecnologías clave para i4.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B765B8-2504-4087-9646-9F3F5C3D23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289" y="1347614"/>
            <a:ext cx="2826809" cy="220569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032C85D-F1B6-4396-BC2C-212BE0D83E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31546" y="1054433"/>
            <a:ext cx="4217165" cy="2792054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1298E5CF-D7F0-4094-8CBB-58B47BA093E3}"/>
              </a:ext>
            </a:extLst>
          </p:cNvPr>
          <p:cNvSpPr/>
          <p:nvPr/>
        </p:nvSpPr>
        <p:spPr>
          <a:xfrm>
            <a:off x="3451614" y="1995686"/>
            <a:ext cx="850416" cy="792088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68D25F-9EE7-46A9-B361-B59052C0C7EA}"/>
              </a:ext>
            </a:extLst>
          </p:cNvPr>
          <p:cNvSpPr txBox="1"/>
          <p:nvPr/>
        </p:nvSpPr>
        <p:spPr>
          <a:xfrm>
            <a:off x="5564446" y="3950567"/>
            <a:ext cx="21513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b="1" dirty="0"/>
              <a:t>Inteligencia de Negocios</a:t>
            </a:r>
          </a:p>
        </p:txBody>
      </p:sp>
    </p:spTree>
    <p:extLst>
      <p:ext uri="{BB962C8B-B14F-4D97-AF65-F5344CB8AC3E}">
        <p14:creationId xmlns:p14="http://schemas.microsoft.com/office/powerpoint/2010/main" val="295512422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5288" y="303211"/>
            <a:ext cx="6841007" cy="396331"/>
          </a:xfrm>
        </p:spPr>
        <p:txBody>
          <a:bodyPr/>
          <a:lstStyle/>
          <a:p>
            <a:r>
              <a:rPr lang="es-MX" dirty="0"/>
              <a:t>PROYECTOS DE i4.0 EN CONTINENTA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F57776D-CF16-4492-89A7-1A12B6CDC2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005" y="1347614"/>
            <a:ext cx="4063156" cy="223224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A0C1F8F-11A0-496A-8D8E-0E40C87832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43" b="2199"/>
          <a:stretch/>
        </p:blipFill>
        <p:spPr>
          <a:xfrm>
            <a:off x="5796136" y="834171"/>
            <a:ext cx="2367205" cy="323923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4032340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5288" y="303211"/>
            <a:ext cx="6841007" cy="396331"/>
          </a:xfrm>
        </p:spPr>
        <p:txBody>
          <a:bodyPr/>
          <a:lstStyle/>
          <a:p>
            <a:r>
              <a:rPr lang="es-MX" dirty="0"/>
              <a:t>PROBLEMÁTICA EN PISO DE PRODUCC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A4CDE6-4425-4749-8F16-BC1C97593B41}"/>
              </a:ext>
            </a:extLst>
          </p:cNvPr>
          <p:cNvSpPr txBox="1"/>
          <p:nvPr/>
        </p:nvSpPr>
        <p:spPr>
          <a:xfrm>
            <a:off x="251520" y="1635646"/>
            <a:ext cx="37446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/>
              <a:t>Se han detectado problemas funcionales en algunas maquinas por sobrecalentamiento, generando que la cantidad de aire frio dentro de la nave aumente y por consiguiente se incremente el gasto eléctrico y los costos energéticos de operació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192D82-CB3E-47E3-AECA-22BB53DB48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7420" y="881891"/>
            <a:ext cx="4581291" cy="305801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5874141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3F271-9099-4F25-958F-4013319E6D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2050E1-4A4D-4B4D-8184-89D4D102C4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50F89C-AA6A-4C63-8324-14130282C41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3A93CDC-3FF3-4689-B698-51742431D4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nteligencia Artificial</a:t>
            </a:r>
          </a:p>
        </p:txBody>
      </p:sp>
      <p:pic>
        <p:nvPicPr>
          <p:cNvPr id="7" name="Imagen 5" descr="Imagen que contiene celentéreo&#10;&#10;Descripción generada automáticamente">
            <a:extLst>
              <a:ext uri="{FF2B5EF4-FFF2-40B4-BE49-F238E27FC236}">
                <a16:creationId xmlns:a16="http://schemas.microsoft.com/office/drawing/2014/main" id="{2BC9FCA0-F4F2-4ED3-B1D6-306BA58894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56" r="1" b="21891"/>
          <a:stretch/>
        </p:blipFill>
        <p:spPr>
          <a:xfrm>
            <a:off x="5580112" y="339320"/>
            <a:ext cx="3313327" cy="2808287"/>
          </a:xfrm>
          <a:prstGeom prst="rect">
            <a:avLst/>
          </a:prstGeom>
        </p:spPr>
      </p:pic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4600374A-75CE-4F3E-BD92-646D183E8731}"/>
              </a:ext>
            </a:extLst>
          </p:cNvPr>
          <p:cNvSpPr txBox="1">
            <a:spLocks/>
          </p:cNvSpPr>
          <p:nvPr/>
        </p:nvSpPr>
        <p:spPr>
          <a:xfrm>
            <a:off x="355296" y="1297700"/>
            <a:ext cx="4206832" cy="130709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3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45" indent="-184152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50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40" indent="-179391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95" indent="-177803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32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/>
              <a:t>Disciplina del campo de la informática, que busca la creación de máquinas que puedan imitar comportamientos inteligentes.</a:t>
            </a:r>
            <a:endParaRPr lang="es-MX" dirty="0"/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AED4582E-BEA7-4C71-8401-1D4AB57E8767}"/>
              </a:ext>
            </a:extLst>
          </p:cNvPr>
          <p:cNvSpPr txBox="1">
            <a:spLocks/>
          </p:cNvSpPr>
          <p:nvPr/>
        </p:nvSpPr>
        <p:spPr>
          <a:xfrm>
            <a:off x="346551" y="2273373"/>
            <a:ext cx="5214946" cy="87423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endParaRPr lang="es-MX" dirty="0"/>
          </a:p>
          <a:p>
            <a:r>
              <a:rPr lang="es-MX" sz="1600" dirty="0"/>
              <a:t>Subcategorías de aplicación</a:t>
            </a:r>
          </a:p>
          <a:p>
            <a:endParaRPr lang="es-MX" dirty="0"/>
          </a:p>
        </p:txBody>
      </p:sp>
      <p:sp>
        <p:nvSpPr>
          <p:cNvPr id="11" name="Marcador de contenido 2">
            <a:extLst>
              <a:ext uri="{FF2B5EF4-FFF2-40B4-BE49-F238E27FC236}">
                <a16:creationId xmlns:a16="http://schemas.microsoft.com/office/drawing/2014/main" id="{C8C79575-DC4A-41E8-A84B-C05B27E49993}"/>
              </a:ext>
            </a:extLst>
          </p:cNvPr>
          <p:cNvSpPr txBox="1">
            <a:spLocks/>
          </p:cNvSpPr>
          <p:nvPr/>
        </p:nvSpPr>
        <p:spPr>
          <a:xfrm>
            <a:off x="331608" y="2815332"/>
            <a:ext cx="11029615" cy="13070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Robótica </a:t>
            </a:r>
          </a:p>
          <a:p>
            <a:r>
              <a:rPr lang="es-MX" dirty="0"/>
              <a:t>NLP</a:t>
            </a:r>
          </a:p>
          <a:p>
            <a:r>
              <a:rPr lang="es-MX" dirty="0"/>
              <a:t>Visión</a:t>
            </a:r>
          </a:p>
          <a:p>
            <a:r>
              <a:rPr lang="es-MX" dirty="0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316997235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B30C27-82B7-41C9-A06C-CDA291CC4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69F9EF-0823-477D-AB08-FAC7A2CF5F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09878C-205B-4BC5-BD7B-1845051E57F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3ED09DB-591B-4E18-9162-92C7B64A2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Machine </a:t>
            </a:r>
            <a:r>
              <a:rPr lang="es-MX" dirty="0" err="1"/>
              <a:t>Learning</a:t>
            </a:r>
            <a:r>
              <a:rPr lang="es-MX" dirty="0"/>
              <a:t> (ML)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BF2C784-3AFF-4769-82AD-2324EA6AD9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050927"/>
            <a:ext cx="6120928" cy="1376807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s-MX" dirty="0"/>
              <a:t>Definición:</a:t>
            </a:r>
          </a:p>
          <a:p>
            <a:r>
              <a:rPr lang="es-MX" dirty="0"/>
              <a:t>Aprendizaje automático: Rama de la IA que busca botar a las máquinas de capacidad de aprendizaje. </a:t>
            </a:r>
          </a:p>
          <a:p>
            <a:r>
              <a:rPr lang="es-MX" dirty="0"/>
              <a:t>En base a miles de ejemplos un algoritmo puede deducir</a:t>
            </a:r>
          </a:p>
          <a:p>
            <a:endParaRPr lang="es-MX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1561CE-F71F-4ADD-B5BB-6D6849FCCB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395285" y="2337861"/>
            <a:ext cx="3384627" cy="1904417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3AD7718-2B55-437C-B54E-5AEC6CAF2434}"/>
              </a:ext>
            </a:extLst>
          </p:cNvPr>
          <p:cNvSpPr txBox="1">
            <a:spLocks/>
          </p:cNvSpPr>
          <p:nvPr/>
        </p:nvSpPr>
        <p:spPr>
          <a:xfrm>
            <a:off x="3975102" y="3276061"/>
            <a:ext cx="1378857" cy="9989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es-MX" sz="1200" dirty="0"/>
              <a:t>(Es diferente programar que elementos forman una cara </a:t>
            </a:r>
          </a:p>
          <a:p>
            <a:pPr marL="0" indent="0">
              <a:buFont typeface="Wingdings 2" panose="05020102010507070707" pitchFamily="18" charset="2"/>
              <a:buNone/>
            </a:pPr>
            <a:r>
              <a:rPr lang="es-MX" sz="1200" dirty="0"/>
              <a:t>que automáticamente aprender que es una cara) </a:t>
            </a:r>
          </a:p>
        </p:txBody>
      </p:sp>
    </p:spTree>
    <p:extLst>
      <p:ext uri="{BB962C8B-B14F-4D97-AF65-F5344CB8AC3E}">
        <p14:creationId xmlns:p14="http://schemas.microsoft.com/office/powerpoint/2010/main" val="334008656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709CE8-E313-4273-81F4-4F2462B84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CCB9E-25FB-4DC4-A0AA-1AE05832BABA}" type="datetime3">
              <a:rPr lang="en-US" noProof="0" smtClean="0"/>
              <a:t>17 July 2019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7D3F9C-99E1-4EB8-B6CF-EE24A32E87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06CA99-CCF6-4B0B-8B43-6E01CD89AA7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 © Continental A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C53623-99DD-4F09-B0A8-453A42FD0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Deep </a:t>
            </a:r>
            <a:r>
              <a:rPr lang="es-MX" dirty="0" err="1"/>
              <a:t>learning</a:t>
            </a:r>
            <a:r>
              <a:rPr lang="es-MX" dirty="0"/>
              <a:t> (DL)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E2237F8-C69C-452E-81B0-67626056E3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7" y="992869"/>
            <a:ext cx="7705105" cy="132203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MX" dirty="0"/>
              <a:t>Definición:</a:t>
            </a:r>
          </a:p>
          <a:p>
            <a:r>
              <a:rPr lang="es-MX" dirty="0"/>
              <a:t>Conjunto de algoritmos de aprendizaje automático (ML) que intenta modelar abstracciones de alto nivel en datos usando arquitecturas computacionales que admiten transformaciones no lineales en forma matricial o tensorial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C579DC-F657-44F6-B561-28BEC9F3BE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38561" y="2797880"/>
            <a:ext cx="1433323" cy="9949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2194D83-B429-4D09-9FFF-E2FB50332C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1926298" y="2660210"/>
            <a:ext cx="882670" cy="132203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6208A0E-8C4B-46A8-98D1-128FD95FF1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3067889" y="2703179"/>
            <a:ext cx="2087418" cy="1184365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A6F51D9-1FF2-4415-BC36-2AD679237028}"/>
              </a:ext>
            </a:extLst>
          </p:cNvPr>
          <p:cNvSpPr txBox="1">
            <a:spLocks/>
          </p:cNvSpPr>
          <p:nvPr/>
        </p:nvSpPr>
        <p:spPr>
          <a:xfrm>
            <a:off x="5452181" y="2660210"/>
            <a:ext cx="2900240" cy="139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r>
              <a:rPr lang="es-MX" sz="1600" dirty="0"/>
              <a:t>(Al juntar capa tras capa de conceptos concretos podemos aprender a extraer conceptos más abstractos) </a:t>
            </a:r>
          </a:p>
        </p:txBody>
      </p:sp>
    </p:spTree>
    <p:extLst>
      <p:ext uri="{BB962C8B-B14F-4D97-AF65-F5344CB8AC3E}">
        <p14:creationId xmlns:p14="http://schemas.microsoft.com/office/powerpoint/2010/main" val="96433290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226"/>
  <p:tag name="MIO_UPDATE" val="True"/>
  <p:tag name="MIO_VERSION" val="17.03.2014 13:10:57"/>
  <p:tag name="MIO_DBID" val="ED9FF2F2-6643-46BA-B685-7D49126FFAFF"/>
</p:tagLst>
</file>

<file path=ppt/theme/theme1.xml><?xml version="1.0" encoding="utf-8"?>
<a:theme xmlns:a="http://schemas.openxmlformats.org/drawingml/2006/main" name="1_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 (SCT)" ma:contentTypeID="0x01010060D3A2B5B42A0B4796CE5EB3AD8B0F9700463413C64D87794B8F24D7EA5052F18E" ma:contentTypeVersion="8" ma:contentTypeDescription="SIEMENS core content type for documents (SCT)" ma:contentTypeScope="" ma:versionID="9a64a785b921466f63233d1713cd2843">
  <xsd:schema xmlns:xsd="http://www.w3.org/2001/XMLSchema" xmlns:xs="http://www.w3.org/2001/XMLSchema" xmlns:p="http://schemas.microsoft.com/office/2006/metadata/properties" xmlns:ns1="http://schemas.microsoft.com/sharepoint/v3" xmlns:ns2="http://schemas.microsoft.com/sharepoint/v3/fields" xmlns:ns3="3a0de98e-cf92-413a-82a8-9c5b92eec7b0" xmlns:ns4="1a1f9110-fb18-418c-8e88-196ef36d9f46" targetNamespace="http://schemas.microsoft.com/office/2006/metadata/properties" ma:root="true" ma:fieldsID="aa3ee302148ab82c74408276757477e9" ns1:_="" ns2:_="" ns3:_="" ns4:_="">
    <xsd:import namespace="http://schemas.microsoft.com/sharepoint/v3"/>
    <xsd:import namespace="http://schemas.microsoft.com/sharepoint/v3/fields"/>
    <xsd:import namespace="3a0de98e-cf92-413a-82a8-9c5b92eec7b0"/>
    <xsd:import namespace="1a1f9110-fb18-418c-8e88-196ef36d9f46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1:Language"/>
                <xsd:element ref="ns1:SCCoverageSpatialOrgUnit" minOccurs="0"/>
                <xsd:element ref="ns1:Owner" minOccurs="0"/>
                <xsd:element ref="ns3:SiemensSecurityClass"/>
                <xsd:element ref="ns1:NGCMCategory" minOccurs="0"/>
                <xsd:element ref="ns4:OrgFileExt" minOccurs="0"/>
                <xsd:element ref="ns4:CurItemEx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12" ma:displayName="Language" ma:default="English (en)" ma:description="Language with ISO 639-2 language code" ma:internalName="Language">
      <xsd:simpleType>
        <xsd:union memberTypes="dms:Text">
          <xsd:simpleType>
            <xsd:restriction base="dms:Choice">
              <xsd:enumeration value="Arabic (ar)"/>
              <xsd:enumeration value="Bulgarian (bg)"/>
              <xsd:enumeration value="Chinese (zh)"/>
              <xsd:enumeration value="Croatian (hr)"/>
              <xsd:enumeration value="Czech (cs)"/>
              <xsd:enumeration value="Danish (da)"/>
              <xsd:enumeration value="Dutch (nl)"/>
              <xsd:enumeration value="English (en)"/>
              <xsd:enumeration value="Estonian (et)"/>
              <xsd:enumeration value="Finnish (fi)"/>
              <xsd:enumeration value="French (fr)"/>
              <xsd:enumeration value="German (de)"/>
              <xsd:enumeration value="Greek (el)"/>
              <xsd:enumeration value="Hebrew (he)"/>
              <xsd:enumeration value="Hindi (hi)"/>
              <xsd:enumeration value="Hungarian (hu)"/>
              <xsd:enumeration value="Indonesian (id)"/>
              <xsd:enumeration value="Italian (it)"/>
              <xsd:enumeration value="Japanese (ja)"/>
              <xsd:enumeration value="Korean (ko)"/>
              <xsd:enumeration value="Latvian (lv)"/>
              <xsd:enumeration value="Lithuanian (lt)"/>
              <xsd:enumeration value="Malay (ms)"/>
              <xsd:enumeration value="Norwegian (no)"/>
              <xsd:enumeration value="Polish (pl)"/>
              <xsd:enumeration value="Portuguese (pt)"/>
              <xsd:enumeration value="Romanian (ro)"/>
              <xsd:enumeration value="Russian (ru)"/>
              <xsd:enumeration value="Serbian (sr)"/>
              <xsd:enumeration value="Slovak (sk)"/>
              <xsd:enumeration value="Slovenian (sl)"/>
              <xsd:enumeration value="Spanish (es)"/>
              <xsd:enumeration value="Swedish (sv)"/>
              <xsd:enumeration value="Thai (th)"/>
              <xsd:enumeration value="Turkish (tr)"/>
              <xsd:enumeration value="Ukrainian (uk)"/>
              <xsd:enumeration value="Urdu (ur)"/>
              <xsd:enumeration value="Vietnamese (vi)"/>
            </xsd:restriction>
          </xsd:simpleType>
        </xsd:union>
      </xsd:simpleType>
    </xsd:element>
    <xsd:element name="SCCoverageSpatialOrgUnit" ma:index="13" nillable="true" ma:displayName="Scope (organizational)" ma:default="SIEMENS AG" ma:description="The organizational units for which the resource is relevant" ma:internalName="CoverageSpatialOrgUnit" ma:readOnly="false">
      <xsd:simpleType>
        <xsd:restriction base="dms:Text"/>
      </xsd:simpleType>
    </xsd:element>
    <xsd:element name="Owner" ma:index="14" nillable="true" ma:displayName="Owner" ma:description="E-Mail adress or GID (from SCD) of the responsible owner or an organizational unit (official abbreviation)" ma:internalName="Owner" ma:readOnly="false">
      <xsd:simpleType>
        <xsd:restriction base="dms:Text"/>
      </xsd:simpleType>
    </xsd:element>
    <xsd:element name="NGCMCategory" ma:index="16" nillable="true" ma:displayName="Category" ma:default="" ma:internalName="NGCMCategory">
      <xsd:simpleType>
        <xsd:restriction base="dms:Text">
          <xsd:enumeration value="(1) Category1"/>
          <xsd:enumeration value="(2) Category2"/>
          <xsd:enumeration value="(3) Category3"/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10" nillable="true" ma:displayName="Status" ma:default="Draft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Released"/>
              <xsd:enumeration value="Valid"/>
              <xsd:enumeration value="Outdated"/>
              <xsd:enumeration value="Invalid"/>
            </xsd:restriction>
          </xsd:simpleType>
        </xsd:un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0de98e-cf92-413a-82a8-9c5b92eec7b0" elementFormDefault="qualified">
    <xsd:import namespace="http://schemas.microsoft.com/office/2006/documentManagement/types"/>
    <xsd:import namespace="http://schemas.microsoft.com/office/infopath/2007/PartnerControls"/>
    <xsd:element name="SiemensSecurityClass" ma:index="15" ma:displayName="Security Class" ma:default="For internal use only" ma:internalName="SiemensSecurityClass">
      <xsd:simpleType>
        <xsd:restriction base="dms:Choice">
          <xsd:enumeration value="No Restriction"/>
          <xsd:enumeration value="For internal use only"/>
          <xsd:enumeration value="Confidential"/>
          <xsd:enumeration value="Strictly confidential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1f9110-fb18-418c-8e88-196ef36d9f46" elementFormDefault="qualified">
    <xsd:import namespace="http://schemas.microsoft.com/office/2006/documentManagement/types"/>
    <xsd:import namespace="http://schemas.microsoft.com/office/infopath/2007/PartnerControls"/>
    <xsd:element name="OrgFileExt" ma:index="17" nillable="true" ma:displayName="Orginal Ext" ma:internalName="OrgFileExt" ma:readOnly="true">
      <xsd:simpleType>
        <xsd:restriction base="dms:Text"/>
      </xsd:simpleType>
    </xsd:element>
    <xsd:element name="CurItemExt" ma:index="18" nillable="true" ma:displayName="Current Ext" ma:internalName="CurItemExt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7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8" ma:displayName="Title"/>
        <xsd:element ref="dc:subject" minOccurs="0" maxOccurs="1"/>
        <xsd:element ref="dc:description" minOccurs="0" maxOccurs="1" ma:index="11" ma:displayName="Summary"/>
        <xsd:element name="keywords" minOccurs="0" maxOccurs="1" type="xsd:string" ma:index="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>English (en)</Language>
    <Owner xmlns="http://schemas.microsoft.com/sharepoint/v3" xsi:nil="true"/>
    <_Status xmlns="http://schemas.microsoft.com/sharepoint/v3/fields">Draft</_Status>
    <SiemensSecurityClass xmlns="3a0de98e-cf92-413a-82a8-9c5b92eec7b0">For internal use only</SiemensSecurityClass>
    <SCCoverageSpatialOrgUnit xmlns="http://schemas.microsoft.com/sharepoint/v3">SIEMENS AG</SCCoverageSpatialOrgUnit>
    <NGCMCategory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9956956-5104-4428-A9E1-2B6D8B2980F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DCB7EF5-E2D2-4C5D-A27D-E7038E8D9E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3/fields"/>
    <ds:schemaRef ds:uri="3a0de98e-cf92-413a-82a8-9c5b92eec7b0"/>
    <ds:schemaRef ds:uri="1a1f9110-fb18-418c-8e88-196ef36d9f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B5A1DD4-C8D5-46DD-81EF-C91B5FADE545}">
  <ds:schemaRefs>
    <ds:schemaRef ds:uri="http://schemas.microsoft.com/sharepoint/v3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1a1f9110-fb18-418c-8e88-196ef36d9f46"/>
    <ds:schemaRef ds:uri="http://www.w3.org/XML/1998/namespace"/>
    <ds:schemaRef ds:uri="3a0de98e-cf92-413a-82a8-9c5b92eec7b0"/>
    <ds:schemaRef ds:uri="http://purl.org/dc/dcmitype/"/>
    <ds:schemaRef ds:uri="http://schemas.microsoft.com/sharepoint/v3/field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82</Words>
  <Application>Microsoft Office PowerPoint</Application>
  <PresentationFormat>On-screen Show (16:9)</PresentationFormat>
  <Paragraphs>237</Paragraphs>
  <Slides>2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2" baseType="lpstr">
      <vt:lpstr>Arial</vt:lpstr>
      <vt:lpstr>Calibri</vt:lpstr>
      <vt:lpstr>Wingdings 2</vt:lpstr>
      <vt:lpstr>1_Continental AG, 4x3</vt:lpstr>
      <vt:lpstr>Proyectos para Fabrica Inteligente integrados con IIoT y Ai</vt:lpstr>
      <vt:lpstr>CONTENIDO</vt:lpstr>
      <vt:lpstr>INTRODUCCION A LA FABRICA INTELIGENTE</vt:lpstr>
      <vt:lpstr>INTRODUCCION A LA FABRICA INTELIGENTE</vt:lpstr>
      <vt:lpstr>PROYECTOS DE i4.0 EN CONTINENTAL</vt:lpstr>
      <vt:lpstr>PROBLEMÁTICA EN PISO DE PRODUCCION</vt:lpstr>
      <vt:lpstr>Inteligencia Artificial</vt:lpstr>
      <vt:lpstr>Machine Learning (ML)</vt:lpstr>
      <vt:lpstr>Deep learning (DL)</vt:lpstr>
      <vt:lpstr>IA espectro completo</vt:lpstr>
      <vt:lpstr>Uso de DL en Continental Mnfc</vt:lpstr>
      <vt:lpstr>Técnicas ML </vt:lpstr>
      <vt:lpstr>ML, Tipos de Algoritmos</vt:lpstr>
      <vt:lpstr>Como la IA aprende diferencias ?</vt:lpstr>
      <vt:lpstr>Ejemplo Parejas y Divorcio</vt:lpstr>
      <vt:lpstr>Neural networks – Redes neuronales </vt:lpstr>
      <vt:lpstr>Neurona</vt:lpstr>
      <vt:lpstr>Red Neuronal </vt:lpstr>
      <vt:lpstr>Funciones de activación</vt:lpstr>
      <vt:lpstr>Modelar Datos </vt:lpstr>
      <vt:lpstr>Aprendizaje (backpropagation)</vt:lpstr>
      <vt:lpstr>Compañías y su campo </vt:lpstr>
      <vt:lpstr>IA en Continental Automotive</vt:lpstr>
      <vt:lpstr>Preparación de ambiente práctica</vt:lpstr>
      <vt:lpstr>Instalación </vt:lpstr>
      <vt:lpstr>Referencias </vt:lpstr>
      <vt:lpstr>Gracias!!</vt:lpstr>
      <vt:lpstr>Contact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 Reading Inspection - Systems and Methods</dc:title>
  <dc:subject>Inspection of contents and quality of marked codes</dc:subject>
  <dc:creator>Inda-Meza, Raymundo</dc:creator>
  <cp:lastModifiedBy>Urzua, David</cp:lastModifiedBy>
  <cp:revision>591</cp:revision>
  <cp:lastPrinted>2016-07-03T13:59:47Z</cp:lastPrinted>
  <dcterms:created xsi:type="dcterms:W3CDTF">2014-01-31T10:35:18Z</dcterms:created>
  <dcterms:modified xsi:type="dcterms:W3CDTF">2019-07-17T19:30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D3A2B5B42A0B4796CE5EB3AD8B0F9700463413C64D87794B8F24D7EA5052F18E</vt:lpwstr>
  </property>
</Properties>
</file>